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8" r:id="rId5"/>
    <p:sldId id="257" r:id="rId6"/>
    <p:sldId id="262" r:id="rId7"/>
    <p:sldId id="2408" r:id="rId8"/>
    <p:sldId id="2410" r:id="rId9"/>
    <p:sldId id="2411" r:id="rId10"/>
    <p:sldId id="2412" r:id="rId11"/>
    <p:sldId id="2416" r:id="rId12"/>
    <p:sldId id="2413" r:id="rId13"/>
    <p:sldId id="2414" r:id="rId14"/>
    <p:sldId id="2415" r:id="rId15"/>
    <p:sldId id="2417" r:id="rId16"/>
    <p:sldId id="2418" r:id="rId17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A" id="{15D6A7BB-CFFF-4E24-883D-55CA9E8C505C}">
          <p14:sldIdLst>
            <p14:sldId id="258"/>
          </p14:sldIdLst>
        </p14:section>
        <p14:section name="0. Capa e Agenda" id="{79605AF9-E744-4C49-889F-D1FC2CB96171}">
          <p14:sldIdLst>
            <p14:sldId id="257"/>
            <p14:sldId id="262"/>
          </p14:sldIdLst>
        </p14:section>
        <p14:section name="1. Visão Geral - Resumo Executivo" id="{F7F22E42-EEAF-4763-B9AA-66BACE85ACEF}">
          <p14:sldIdLst>
            <p14:sldId id="2408"/>
          </p14:sldIdLst>
        </p14:section>
        <p14:section name="2. Produto" id="{525B3A4C-634C-481B-8ABD-EBF78F8B5B4D}">
          <p14:sldIdLst>
            <p14:sldId id="2410"/>
          </p14:sldIdLst>
        </p14:section>
        <p14:section name="3. Avaliação de Mercado" id="{A3E010DD-A6B7-4583-AC00-5A33984E790E}">
          <p14:sldIdLst>
            <p14:sldId id="2411"/>
          </p14:sldIdLst>
        </p14:section>
        <p14:section name="4. Indicadores e Checkpoints" id="{175A3572-3B0B-41AE-9828-3DF6F470FCB6}">
          <p14:sldIdLst>
            <p14:sldId id="2412"/>
          </p14:sldIdLst>
        </p14:section>
        <p14:section name="5. Cronograma" id="{D5339D0D-452E-4248-9957-EBFCBD8B199E}">
          <p14:sldIdLst>
            <p14:sldId id="2416"/>
            <p14:sldId id="2413"/>
          </p14:sldIdLst>
        </p14:section>
        <p14:section name="6. Custos e Contrapartidas" id="{ACBBEABF-578B-4309-A047-F2B056183CC3}">
          <p14:sldIdLst>
            <p14:sldId id="2414"/>
            <p14:sldId id="2415"/>
          </p14:sldIdLst>
        </p14:section>
        <p14:section name="7. KRs AMPERE" id="{AE0D5EB7-4AD5-4B47-866A-3DF1595DC691}">
          <p14:sldIdLst>
            <p14:sldId id="2417"/>
          </p14:sldIdLst>
        </p14:section>
        <p14:section name="0. Fechamento" id="{12F2E14B-94E8-4219-8048-0005B09C7F96}">
          <p14:sldIdLst>
            <p14:sldId id="241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A93E48-617E-BCC4-2704-76F79E13BF1E}" name="Caio Oriente Pereira" initials="CO" userId="S::caio.pereira@cpfl.com.br::cf0d9a0a-e124-4c03-aa21-7658adfbd4b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79F"/>
    <a:srgbClr val="00ADE0"/>
    <a:srgbClr val="80C342"/>
    <a:srgbClr val="01704E"/>
    <a:srgbClr val="2F528F"/>
    <a:srgbClr val="2E75B6"/>
    <a:srgbClr val="002060"/>
    <a:srgbClr val="97A8C7"/>
    <a:srgbClr val="F2F2F2"/>
    <a:srgbClr val="96B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8E72AB-8FA8-4283-AE25-3AD133481787}" v="4" dt="2025-12-03T21:57:21.5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59" autoAdjust="0"/>
    <p:restoredTop sz="96727" autoAdjust="0"/>
  </p:normalViewPr>
  <p:slideViewPr>
    <p:cSldViewPr snapToGrid="0">
      <p:cViewPr>
        <p:scale>
          <a:sx n="50" d="100"/>
          <a:sy n="50" d="100"/>
        </p:scale>
        <p:origin x="1060" y="5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io Oriente Pereira" userId="cf0d9a0a-e124-4c03-aa21-7658adfbd4b5" providerId="ADAL" clId="{0EB87AFF-CC43-40EB-B165-E223D3E91752}"/>
    <pc:docChg chg="undo custSel addSld delSld modSld modMainMaster addSection modSection">
      <pc:chgData name="Caio Oriente Pereira" userId="cf0d9a0a-e124-4c03-aa21-7658adfbd4b5" providerId="ADAL" clId="{0EB87AFF-CC43-40EB-B165-E223D3E91752}" dt="2025-12-03T21:57:26.420" v="728" actId="47"/>
      <pc:docMkLst>
        <pc:docMk/>
      </pc:docMkLst>
      <pc:sldChg chg="addSp delSp modSp mod">
        <pc:chgData name="Caio Oriente Pereira" userId="cf0d9a0a-e124-4c03-aa21-7658adfbd4b5" providerId="ADAL" clId="{0EB87AFF-CC43-40EB-B165-E223D3E91752}" dt="2025-12-03T21:56:32.012" v="722" actId="552"/>
        <pc:sldMkLst>
          <pc:docMk/>
          <pc:sldMk cId="613546705" sldId="257"/>
        </pc:sldMkLst>
        <pc:spChg chg="mod">
          <ac:chgData name="Caio Oriente Pereira" userId="cf0d9a0a-e124-4c03-aa21-7658adfbd4b5" providerId="ADAL" clId="{0EB87AFF-CC43-40EB-B165-E223D3E91752}" dt="2025-12-03T21:56:08.355" v="715" actId="164"/>
          <ac:spMkLst>
            <pc:docMk/>
            <pc:sldMk cId="613546705" sldId="257"/>
            <ac:spMk id="3" creationId="{00C009F6-494D-2A97-487A-2B2C8E3F80D6}"/>
          </ac:spMkLst>
        </pc:spChg>
        <pc:spChg chg="mod">
          <ac:chgData name="Caio Oriente Pereira" userId="cf0d9a0a-e124-4c03-aa21-7658adfbd4b5" providerId="ADAL" clId="{0EB87AFF-CC43-40EB-B165-E223D3E91752}" dt="2025-12-03T21:56:08.355" v="715" actId="164"/>
          <ac:spMkLst>
            <pc:docMk/>
            <pc:sldMk cId="613546705" sldId="257"/>
            <ac:spMk id="4" creationId="{E56B6223-0F23-4D87-3D46-2B2E657E6D6A}"/>
          </ac:spMkLst>
        </pc:spChg>
        <pc:spChg chg="mod">
          <ac:chgData name="Caio Oriente Pereira" userId="cf0d9a0a-e124-4c03-aa21-7658adfbd4b5" providerId="ADAL" clId="{0EB87AFF-CC43-40EB-B165-E223D3E91752}" dt="2025-12-03T21:56:08.355" v="715" actId="164"/>
          <ac:spMkLst>
            <pc:docMk/>
            <pc:sldMk cId="613546705" sldId="257"/>
            <ac:spMk id="5" creationId="{E9644F98-C0F2-8EFB-91B9-D03C52C46473}"/>
          </ac:spMkLst>
        </pc:spChg>
        <pc:spChg chg="mod">
          <ac:chgData name="Caio Oriente Pereira" userId="cf0d9a0a-e124-4c03-aa21-7658adfbd4b5" providerId="ADAL" clId="{0EB87AFF-CC43-40EB-B165-E223D3E91752}" dt="2025-12-03T21:56:08.355" v="715" actId="164"/>
          <ac:spMkLst>
            <pc:docMk/>
            <pc:sldMk cId="613546705" sldId="257"/>
            <ac:spMk id="6" creationId="{A3B88074-1C3D-E3B1-4ACA-2EC62AB06CB6}"/>
          </ac:spMkLst>
        </pc:spChg>
        <pc:spChg chg="mod">
          <ac:chgData name="Caio Oriente Pereira" userId="cf0d9a0a-e124-4c03-aa21-7658adfbd4b5" providerId="ADAL" clId="{0EB87AFF-CC43-40EB-B165-E223D3E91752}" dt="2025-12-03T21:56:00.851" v="714"/>
          <ac:spMkLst>
            <pc:docMk/>
            <pc:sldMk cId="613546705" sldId="257"/>
            <ac:spMk id="7" creationId="{59FE0CF9-38FF-C0B2-FF33-513913664F3F}"/>
          </ac:spMkLst>
        </pc:spChg>
        <pc:spChg chg="mod">
          <ac:chgData name="Caio Oriente Pereira" userId="cf0d9a0a-e124-4c03-aa21-7658adfbd4b5" providerId="ADAL" clId="{0EB87AFF-CC43-40EB-B165-E223D3E91752}" dt="2025-12-03T21:56:00.851" v="714"/>
          <ac:spMkLst>
            <pc:docMk/>
            <pc:sldMk cId="613546705" sldId="257"/>
            <ac:spMk id="16" creationId="{1D99B389-B207-92AF-EE41-FECF9596AE85}"/>
          </ac:spMkLst>
        </pc:spChg>
        <pc:spChg chg="mod">
          <ac:chgData name="Caio Oriente Pereira" userId="cf0d9a0a-e124-4c03-aa21-7658adfbd4b5" providerId="ADAL" clId="{0EB87AFF-CC43-40EB-B165-E223D3E91752}" dt="2025-12-03T21:56:00.851" v="714"/>
          <ac:spMkLst>
            <pc:docMk/>
            <pc:sldMk cId="613546705" sldId="257"/>
            <ac:spMk id="17" creationId="{B2E9D783-B9FA-3123-3589-C284DE7375DD}"/>
          </ac:spMkLst>
        </pc:spChg>
        <pc:spChg chg="mod">
          <ac:chgData name="Caio Oriente Pereira" userId="cf0d9a0a-e124-4c03-aa21-7658adfbd4b5" providerId="ADAL" clId="{0EB87AFF-CC43-40EB-B165-E223D3E91752}" dt="2025-12-03T21:56:00.851" v="714"/>
          <ac:spMkLst>
            <pc:docMk/>
            <pc:sldMk cId="613546705" sldId="257"/>
            <ac:spMk id="18" creationId="{3602D660-88EF-D7FE-645D-B680E2301985}"/>
          </ac:spMkLst>
        </pc:spChg>
        <pc:grpChg chg="add del mod">
          <ac:chgData name="Caio Oriente Pereira" userId="cf0d9a0a-e124-4c03-aa21-7658adfbd4b5" providerId="ADAL" clId="{0EB87AFF-CC43-40EB-B165-E223D3E91752}" dt="2025-12-03T21:56:29.331" v="721" actId="478"/>
          <ac:grpSpMkLst>
            <pc:docMk/>
            <pc:sldMk cId="613546705" sldId="257"/>
            <ac:grpSpMk id="2" creationId="{02B584E3-9C40-9E0B-63A8-F18DECD5BF81}"/>
          </ac:grpSpMkLst>
        </pc:grpChg>
        <pc:grpChg chg="add mod">
          <ac:chgData name="Caio Oriente Pereira" userId="cf0d9a0a-e124-4c03-aa21-7658adfbd4b5" providerId="ADAL" clId="{0EB87AFF-CC43-40EB-B165-E223D3E91752}" dt="2025-12-03T21:56:32.012" v="722" actId="552"/>
          <ac:grpSpMkLst>
            <pc:docMk/>
            <pc:sldMk cId="613546705" sldId="257"/>
            <ac:grpSpMk id="19" creationId="{E768D3D0-67F6-2FD7-2199-15996DBC3CB9}"/>
          </ac:grpSpMkLst>
        </pc:grpChg>
        <pc:picChg chg="mod">
          <ac:chgData name="Caio Oriente Pereira" userId="cf0d9a0a-e124-4c03-aa21-7658adfbd4b5" providerId="ADAL" clId="{0EB87AFF-CC43-40EB-B165-E223D3E91752}" dt="2025-12-03T21:56:18.953" v="719" actId="1076"/>
          <ac:picMkLst>
            <pc:docMk/>
            <pc:sldMk cId="613546705" sldId="257"/>
            <ac:picMk id="26" creationId="{8959DDB1-68E0-F67E-7D9B-14A48D98078F}"/>
          </ac:picMkLst>
        </pc:picChg>
      </pc:sldChg>
      <pc:sldChg chg="addSp delSp modSp mod">
        <pc:chgData name="Caio Oriente Pereira" userId="cf0d9a0a-e124-4c03-aa21-7658adfbd4b5" providerId="ADAL" clId="{0EB87AFF-CC43-40EB-B165-E223D3E91752}" dt="2025-11-26T17:31:29.003" v="712" actId="6549"/>
        <pc:sldMkLst>
          <pc:docMk/>
          <pc:sldMk cId="3175378067" sldId="258"/>
        </pc:sldMkLst>
        <pc:spChg chg="mod">
          <ac:chgData name="Caio Oriente Pereira" userId="cf0d9a0a-e124-4c03-aa21-7658adfbd4b5" providerId="ADAL" clId="{0EB87AFF-CC43-40EB-B165-E223D3E91752}" dt="2025-11-26T17:31:29.003" v="712" actId="6549"/>
          <ac:spMkLst>
            <pc:docMk/>
            <pc:sldMk cId="3175378067" sldId="258"/>
            <ac:spMk id="3" creationId="{00000000-0000-0000-0000-000000000000}"/>
          </ac:spMkLst>
        </pc:spChg>
        <pc:picChg chg="add mod">
          <ac:chgData name="Caio Oriente Pereira" userId="cf0d9a0a-e124-4c03-aa21-7658adfbd4b5" providerId="ADAL" clId="{0EB87AFF-CC43-40EB-B165-E223D3E91752}" dt="2025-11-26T14:07:19.100" v="505" actId="1076"/>
          <ac:picMkLst>
            <pc:docMk/>
            <pc:sldMk cId="3175378067" sldId="258"/>
            <ac:picMk id="5" creationId="{362ED7EE-EF50-FC39-0EB3-62EA3BF45267}"/>
          </ac:picMkLst>
        </pc:picChg>
      </pc:sldChg>
      <pc:sldChg chg="addSp delSp modSp mod">
        <pc:chgData name="Caio Oriente Pereira" userId="cf0d9a0a-e124-4c03-aa21-7658adfbd4b5" providerId="ADAL" clId="{0EB87AFF-CC43-40EB-B165-E223D3E91752}" dt="2025-12-03T21:56:46.290" v="724" actId="478"/>
        <pc:sldMkLst>
          <pc:docMk/>
          <pc:sldMk cId="4258814762" sldId="262"/>
        </pc:sldMkLst>
        <pc:spChg chg="add del mod">
          <ac:chgData name="Caio Oriente Pereira" userId="cf0d9a0a-e124-4c03-aa21-7658adfbd4b5" providerId="ADAL" clId="{0EB87AFF-CC43-40EB-B165-E223D3E91752}" dt="2025-12-03T21:56:46.290" v="724" actId="478"/>
          <ac:spMkLst>
            <pc:docMk/>
            <pc:sldMk cId="4258814762" sldId="262"/>
            <ac:spMk id="2" creationId="{906F7BD5-F62E-E8E4-00FF-95EDB8280B48}"/>
          </ac:spMkLst>
        </pc:spChg>
        <pc:spChg chg="add del mod">
          <ac:chgData name="Caio Oriente Pereira" userId="cf0d9a0a-e124-4c03-aa21-7658adfbd4b5" providerId="ADAL" clId="{0EB87AFF-CC43-40EB-B165-E223D3E91752}" dt="2025-12-03T21:56:46.290" v="724" actId="478"/>
          <ac:spMkLst>
            <pc:docMk/>
            <pc:sldMk cId="4258814762" sldId="262"/>
            <ac:spMk id="3" creationId="{C0562C2A-9316-24C2-8531-CA6A023C0069}"/>
          </ac:spMkLst>
        </pc:spChg>
        <pc:spChg chg="add del">
          <ac:chgData name="Caio Oriente Pereira" userId="cf0d9a0a-e124-4c03-aa21-7658adfbd4b5" providerId="ADAL" clId="{0EB87AFF-CC43-40EB-B165-E223D3E91752}" dt="2025-12-03T21:56:46.290" v="724" actId="478"/>
          <ac:spMkLst>
            <pc:docMk/>
            <pc:sldMk cId="4258814762" sldId="262"/>
            <ac:spMk id="4" creationId="{75F2FDCB-E6A7-D256-8955-8892963E64D2}"/>
          </ac:spMkLst>
        </pc:spChg>
        <pc:spChg chg="add del">
          <ac:chgData name="Caio Oriente Pereira" userId="cf0d9a0a-e124-4c03-aa21-7658adfbd4b5" providerId="ADAL" clId="{0EB87AFF-CC43-40EB-B165-E223D3E91752}" dt="2025-12-03T21:56:46.290" v="724" actId="478"/>
          <ac:spMkLst>
            <pc:docMk/>
            <pc:sldMk cId="4258814762" sldId="262"/>
            <ac:spMk id="8" creationId="{4A48817F-A6DE-95AD-E43E-49C7F4EC2EF9}"/>
          </ac:spMkLst>
        </pc:spChg>
        <pc:spChg chg="add del">
          <ac:chgData name="Caio Oriente Pereira" userId="cf0d9a0a-e124-4c03-aa21-7658adfbd4b5" providerId="ADAL" clId="{0EB87AFF-CC43-40EB-B165-E223D3E91752}" dt="2025-12-03T21:56:46.290" v="724" actId="478"/>
          <ac:spMkLst>
            <pc:docMk/>
            <pc:sldMk cId="4258814762" sldId="262"/>
            <ac:spMk id="10" creationId="{9CF3521C-6395-BD5F-2E6D-BAF6B50A8F7E}"/>
          </ac:spMkLst>
        </pc:spChg>
        <pc:spChg chg="add del mod">
          <ac:chgData name="Caio Oriente Pereira" userId="cf0d9a0a-e124-4c03-aa21-7658adfbd4b5" providerId="ADAL" clId="{0EB87AFF-CC43-40EB-B165-E223D3E91752}" dt="2025-12-03T21:56:46.290" v="724" actId="478"/>
          <ac:spMkLst>
            <pc:docMk/>
            <pc:sldMk cId="4258814762" sldId="262"/>
            <ac:spMk id="13" creationId="{7AB7744D-41FD-6211-89E8-61B76742CC36}"/>
          </ac:spMkLst>
        </pc:spChg>
        <pc:spChg chg="add del">
          <ac:chgData name="Caio Oriente Pereira" userId="cf0d9a0a-e124-4c03-aa21-7658adfbd4b5" providerId="ADAL" clId="{0EB87AFF-CC43-40EB-B165-E223D3E91752}" dt="2025-12-03T21:56:46.290" v="724" actId="478"/>
          <ac:spMkLst>
            <pc:docMk/>
            <pc:sldMk cId="4258814762" sldId="262"/>
            <ac:spMk id="14" creationId="{F505DD80-B83F-52B0-E51D-1450B42173B7}"/>
          </ac:spMkLst>
        </pc:spChg>
        <pc:picChg chg="add del">
          <ac:chgData name="Caio Oriente Pereira" userId="cf0d9a0a-e124-4c03-aa21-7658adfbd4b5" providerId="ADAL" clId="{0EB87AFF-CC43-40EB-B165-E223D3E91752}" dt="2025-12-03T21:56:46.290" v="724" actId="478"/>
          <ac:picMkLst>
            <pc:docMk/>
            <pc:sldMk cId="4258814762" sldId="262"/>
            <ac:picMk id="5" creationId="{B939424E-0C1D-16A9-8108-531726EA05EC}"/>
          </ac:picMkLst>
        </pc:picChg>
        <pc:picChg chg="add del">
          <ac:chgData name="Caio Oriente Pereira" userId="cf0d9a0a-e124-4c03-aa21-7658adfbd4b5" providerId="ADAL" clId="{0EB87AFF-CC43-40EB-B165-E223D3E91752}" dt="2025-12-03T21:56:46.290" v="724" actId="478"/>
          <ac:picMkLst>
            <pc:docMk/>
            <pc:sldMk cId="4258814762" sldId="262"/>
            <ac:picMk id="15" creationId="{F519320F-C16F-B448-1AA8-5EF904A7F378}"/>
          </ac:picMkLst>
        </pc:picChg>
        <pc:cxnChg chg="add del">
          <ac:chgData name="Caio Oriente Pereira" userId="cf0d9a0a-e124-4c03-aa21-7658adfbd4b5" providerId="ADAL" clId="{0EB87AFF-CC43-40EB-B165-E223D3E91752}" dt="2025-12-03T21:56:46.290" v="724" actId="478"/>
          <ac:cxnSpMkLst>
            <pc:docMk/>
            <pc:sldMk cId="4258814762" sldId="262"/>
            <ac:cxnSpMk id="12" creationId="{8D64C9E9-A799-CD8A-AA8B-F6FECB7321BA}"/>
          </ac:cxnSpMkLst>
        </pc:cxnChg>
      </pc:sldChg>
      <pc:sldChg chg="modSp mod">
        <pc:chgData name="Caio Oriente Pereira" userId="cf0d9a0a-e124-4c03-aa21-7658adfbd4b5" providerId="ADAL" clId="{0EB87AFF-CC43-40EB-B165-E223D3E91752}" dt="2025-11-26T14:45:28.075" v="647" actId="207"/>
        <pc:sldMkLst>
          <pc:docMk/>
          <pc:sldMk cId="2215345650" sldId="2408"/>
        </pc:sldMkLst>
        <pc:spChg chg="mod">
          <ac:chgData name="Caio Oriente Pereira" userId="cf0d9a0a-e124-4c03-aa21-7658adfbd4b5" providerId="ADAL" clId="{0EB87AFF-CC43-40EB-B165-E223D3E91752}" dt="2025-11-26T14:45:28.075" v="647" actId="207"/>
          <ac:spMkLst>
            <pc:docMk/>
            <pc:sldMk cId="2215345650" sldId="2408"/>
            <ac:spMk id="6" creationId="{9A9B7F35-4120-B8A1-9CED-DC9D5BE43BF0}"/>
          </ac:spMkLst>
        </pc:spChg>
      </pc:sldChg>
      <pc:sldChg chg="modSp del mod">
        <pc:chgData name="Caio Oriente Pereira" userId="cf0d9a0a-e124-4c03-aa21-7658adfbd4b5" providerId="ADAL" clId="{0EB87AFF-CC43-40EB-B165-E223D3E91752}" dt="2025-12-03T21:57:26.420" v="728" actId="47"/>
        <pc:sldMkLst>
          <pc:docMk/>
          <pc:sldMk cId="2803376041" sldId="2409"/>
        </pc:sldMkLst>
        <pc:spChg chg="mod">
          <ac:chgData name="Caio Oriente Pereira" userId="cf0d9a0a-e124-4c03-aa21-7658adfbd4b5" providerId="ADAL" clId="{0EB87AFF-CC43-40EB-B165-E223D3E91752}" dt="2025-11-26T14:41:33.010" v="641" actId="207"/>
          <ac:spMkLst>
            <pc:docMk/>
            <pc:sldMk cId="2803376041" sldId="2409"/>
            <ac:spMk id="2" creationId="{6670951A-6872-B3CE-A707-E3F6FAAEE0E1}"/>
          </ac:spMkLst>
        </pc:spChg>
        <pc:spChg chg="mod">
          <ac:chgData name="Caio Oriente Pereira" userId="cf0d9a0a-e124-4c03-aa21-7658adfbd4b5" providerId="ADAL" clId="{0EB87AFF-CC43-40EB-B165-E223D3E91752}" dt="2025-11-26T16:27:35.883" v="687" actId="14100"/>
          <ac:spMkLst>
            <pc:docMk/>
            <pc:sldMk cId="2803376041" sldId="2409"/>
            <ac:spMk id="3" creationId="{00C009F6-494D-2A97-487A-2B2C8E3F80D6}"/>
          </ac:spMkLst>
        </pc:spChg>
        <pc:spChg chg="mod">
          <ac:chgData name="Caio Oriente Pereira" userId="cf0d9a0a-e124-4c03-aa21-7658adfbd4b5" providerId="ADAL" clId="{0EB87AFF-CC43-40EB-B165-E223D3E91752}" dt="2025-11-26T16:28:06.932" v="691" actId="14100"/>
          <ac:spMkLst>
            <pc:docMk/>
            <pc:sldMk cId="2803376041" sldId="2409"/>
            <ac:spMk id="4" creationId="{E56B6223-0F23-4D87-3D46-2B2E657E6D6A}"/>
          </ac:spMkLst>
        </pc:spChg>
        <pc:spChg chg="mod">
          <ac:chgData name="Caio Oriente Pereira" userId="cf0d9a0a-e124-4c03-aa21-7658adfbd4b5" providerId="ADAL" clId="{0EB87AFF-CC43-40EB-B165-E223D3E91752}" dt="2025-11-26T13:47:47.809" v="15" actId="20577"/>
          <ac:spMkLst>
            <pc:docMk/>
            <pc:sldMk cId="2803376041" sldId="2409"/>
            <ac:spMk id="6" creationId="{A3B88074-1C3D-E3B1-4ACA-2EC62AB06CB6}"/>
          </ac:spMkLst>
        </pc:spChg>
        <pc:spChg chg="mod">
          <ac:chgData name="Caio Oriente Pereira" userId="cf0d9a0a-e124-4c03-aa21-7658adfbd4b5" providerId="ADAL" clId="{0EB87AFF-CC43-40EB-B165-E223D3E91752}" dt="2025-11-26T14:41:25.590" v="640" actId="207"/>
          <ac:spMkLst>
            <pc:docMk/>
            <pc:sldMk cId="2803376041" sldId="2409"/>
            <ac:spMk id="7" creationId="{AE04B691-430B-B63E-EA87-9169CBD12E7D}"/>
          </ac:spMkLst>
        </pc:spChg>
      </pc:sldChg>
      <pc:sldChg chg="addSp delSp modSp mod">
        <pc:chgData name="Caio Oriente Pereira" userId="cf0d9a0a-e124-4c03-aa21-7658adfbd4b5" providerId="ADAL" clId="{0EB87AFF-CC43-40EB-B165-E223D3E91752}" dt="2025-11-26T14:49:54.202" v="685" actId="1076"/>
        <pc:sldMkLst>
          <pc:docMk/>
          <pc:sldMk cId="1430284547" sldId="2413"/>
        </pc:sldMkLst>
        <pc:spChg chg="mod">
          <ac:chgData name="Caio Oriente Pereira" userId="cf0d9a0a-e124-4c03-aa21-7658adfbd4b5" providerId="ADAL" clId="{0EB87AFF-CC43-40EB-B165-E223D3E91752}" dt="2025-11-26T14:48:05.387" v="658" actId="1076"/>
          <ac:spMkLst>
            <pc:docMk/>
            <pc:sldMk cId="1430284547" sldId="2413"/>
            <ac:spMk id="4" creationId="{E1F47231-8780-5BAE-2C77-EFE5F0AD42D4}"/>
          </ac:spMkLst>
        </pc:spChg>
        <pc:spChg chg="mod">
          <ac:chgData name="Caio Oriente Pereira" userId="cf0d9a0a-e124-4c03-aa21-7658adfbd4b5" providerId="ADAL" clId="{0EB87AFF-CC43-40EB-B165-E223D3E91752}" dt="2025-11-26T14:49:54.202" v="685" actId="1076"/>
          <ac:spMkLst>
            <pc:docMk/>
            <pc:sldMk cId="1430284547" sldId="2413"/>
            <ac:spMk id="8" creationId="{14CF9FE5-4C13-165E-F439-3968074C899E}"/>
          </ac:spMkLst>
        </pc:spChg>
        <pc:graphicFrameChg chg="add mod ord modGraphic">
          <ac:chgData name="Caio Oriente Pereira" userId="cf0d9a0a-e124-4c03-aa21-7658adfbd4b5" providerId="ADAL" clId="{0EB87AFF-CC43-40EB-B165-E223D3E91752}" dt="2025-11-26T14:49:47.764" v="684" actId="2166"/>
          <ac:graphicFrameMkLst>
            <pc:docMk/>
            <pc:sldMk cId="1430284547" sldId="2413"/>
            <ac:graphicFrameMk id="6" creationId="{6AC67756-41E3-B97D-D6D7-C11B288F0619}"/>
          </ac:graphicFrameMkLst>
        </pc:graphicFrameChg>
      </pc:sldChg>
      <pc:sldChg chg="modSp mod">
        <pc:chgData name="Caio Oriente Pereira" userId="cf0d9a0a-e124-4c03-aa21-7658adfbd4b5" providerId="ADAL" clId="{0EB87AFF-CC43-40EB-B165-E223D3E91752}" dt="2025-11-26T13:58:19.786" v="208" actId="20577"/>
        <pc:sldMkLst>
          <pc:docMk/>
          <pc:sldMk cId="3471162624" sldId="2415"/>
        </pc:sldMkLst>
        <pc:graphicFrameChg chg="modGraphic">
          <ac:chgData name="Caio Oriente Pereira" userId="cf0d9a0a-e124-4c03-aa21-7658adfbd4b5" providerId="ADAL" clId="{0EB87AFF-CC43-40EB-B165-E223D3E91752}" dt="2025-11-26T13:58:19.786" v="208" actId="20577"/>
          <ac:graphicFrameMkLst>
            <pc:docMk/>
            <pc:sldMk cId="3471162624" sldId="2415"/>
            <ac:graphicFrameMk id="2" creationId="{9626C707-67E1-8DAE-38E8-C969D119326C}"/>
          </ac:graphicFrameMkLst>
        </pc:graphicFrameChg>
      </pc:sldChg>
      <pc:sldChg chg="addSp delSp modSp add mod">
        <pc:chgData name="Caio Oriente Pereira" userId="cf0d9a0a-e124-4c03-aa21-7658adfbd4b5" providerId="ADAL" clId="{0EB87AFF-CC43-40EB-B165-E223D3E91752}" dt="2025-11-26T14:01:54.067" v="501" actId="790"/>
        <pc:sldMkLst>
          <pc:docMk/>
          <pc:sldMk cId="1553919294" sldId="2417"/>
        </pc:sldMkLst>
        <pc:spChg chg="mod">
          <ac:chgData name="Caio Oriente Pereira" userId="cf0d9a0a-e124-4c03-aa21-7658adfbd4b5" providerId="ADAL" clId="{0EB87AFF-CC43-40EB-B165-E223D3E91752}" dt="2025-11-26T13:51:24.063" v="197" actId="20577"/>
          <ac:spMkLst>
            <pc:docMk/>
            <pc:sldMk cId="1553919294" sldId="2417"/>
            <ac:spMk id="3" creationId="{FD535DE0-0FA7-8A3C-2350-D57261279C34}"/>
          </ac:spMkLst>
        </pc:spChg>
        <pc:graphicFrameChg chg="add mod modGraphic">
          <ac:chgData name="Caio Oriente Pereira" userId="cf0d9a0a-e124-4c03-aa21-7658adfbd4b5" providerId="ADAL" clId="{0EB87AFF-CC43-40EB-B165-E223D3E91752}" dt="2025-11-26T14:01:54.067" v="501" actId="790"/>
          <ac:graphicFrameMkLst>
            <pc:docMk/>
            <pc:sldMk cId="1553919294" sldId="2417"/>
            <ac:graphicFrameMk id="4" creationId="{87362A0D-1936-759E-7212-DE1883E0A118}"/>
          </ac:graphicFrameMkLst>
        </pc:graphicFrameChg>
      </pc:sldChg>
      <pc:sldChg chg="addSp delSp modSp add mod">
        <pc:chgData name="Caio Oriente Pereira" userId="cf0d9a0a-e124-4c03-aa21-7658adfbd4b5" providerId="ADAL" clId="{0EB87AFF-CC43-40EB-B165-E223D3E91752}" dt="2025-12-03T21:57:21.586" v="727"/>
        <pc:sldMkLst>
          <pc:docMk/>
          <pc:sldMk cId="1207535029" sldId="2418"/>
        </pc:sldMkLst>
        <pc:spChg chg="add mod">
          <ac:chgData name="Caio Oriente Pereira" userId="cf0d9a0a-e124-4c03-aa21-7658adfbd4b5" providerId="ADAL" clId="{0EB87AFF-CC43-40EB-B165-E223D3E91752}" dt="2025-12-03T21:57:21.586" v="727"/>
          <ac:spMkLst>
            <pc:docMk/>
            <pc:sldMk cId="1207535029" sldId="2418"/>
            <ac:spMk id="2" creationId="{82DC480A-FDCB-3BF3-1B93-954B372A0396}"/>
          </ac:spMkLst>
        </pc:spChg>
        <pc:spChg chg="add mod">
          <ac:chgData name="Caio Oriente Pereira" userId="cf0d9a0a-e124-4c03-aa21-7658adfbd4b5" providerId="ADAL" clId="{0EB87AFF-CC43-40EB-B165-E223D3E91752}" dt="2025-12-03T21:57:21.586" v="727"/>
          <ac:spMkLst>
            <pc:docMk/>
            <pc:sldMk cId="1207535029" sldId="2418"/>
            <ac:spMk id="7" creationId="{E5FC1028-179D-F9E5-3071-72EEE32946AA}"/>
          </ac:spMkLst>
        </pc:spChg>
        <pc:spChg chg="add mod">
          <ac:chgData name="Caio Oriente Pereira" userId="cf0d9a0a-e124-4c03-aa21-7658adfbd4b5" providerId="ADAL" clId="{0EB87AFF-CC43-40EB-B165-E223D3E91752}" dt="2025-12-03T21:57:21.586" v="727"/>
          <ac:spMkLst>
            <pc:docMk/>
            <pc:sldMk cId="1207535029" sldId="2418"/>
            <ac:spMk id="16" creationId="{671C09F1-D48E-97BC-1695-1D989DDCD1FF}"/>
          </ac:spMkLst>
        </pc:spChg>
        <pc:spChg chg="add mod">
          <ac:chgData name="Caio Oriente Pereira" userId="cf0d9a0a-e124-4c03-aa21-7658adfbd4b5" providerId="ADAL" clId="{0EB87AFF-CC43-40EB-B165-E223D3E91752}" dt="2025-12-03T21:57:21.586" v="727"/>
          <ac:spMkLst>
            <pc:docMk/>
            <pc:sldMk cId="1207535029" sldId="2418"/>
            <ac:spMk id="17" creationId="{346DE331-04D1-18A5-B2D6-4AEAA48808E1}"/>
          </ac:spMkLst>
        </pc:spChg>
        <pc:grpChg chg="del">
          <ac:chgData name="Caio Oriente Pereira" userId="cf0d9a0a-e124-4c03-aa21-7658adfbd4b5" providerId="ADAL" clId="{0EB87AFF-CC43-40EB-B165-E223D3E91752}" dt="2025-12-03T21:57:21.378" v="726" actId="478"/>
          <ac:grpSpMkLst>
            <pc:docMk/>
            <pc:sldMk cId="1207535029" sldId="2418"/>
            <ac:grpSpMk id="19" creationId="{FFFB5DB1-811F-AE01-4667-1F134712BC20}"/>
          </ac:grpSpMkLst>
        </pc:grpChg>
        <pc:picChg chg="add mod">
          <ac:chgData name="Caio Oriente Pereira" userId="cf0d9a0a-e124-4c03-aa21-7658adfbd4b5" providerId="ADAL" clId="{0EB87AFF-CC43-40EB-B165-E223D3E91752}" dt="2025-12-03T21:57:21.586" v="727"/>
          <ac:picMkLst>
            <pc:docMk/>
            <pc:sldMk cId="1207535029" sldId="2418"/>
            <ac:picMk id="18" creationId="{70805859-3F99-F2DE-9153-C64A0DADAC12}"/>
          </ac:picMkLst>
        </pc:picChg>
      </pc:sldChg>
      <pc:sldMasterChg chg="modSldLayout">
        <pc:chgData name="Caio Oriente Pereira" userId="cf0d9a0a-e124-4c03-aa21-7658adfbd4b5" providerId="ADAL" clId="{0EB87AFF-CC43-40EB-B165-E223D3E91752}" dt="2025-11-26T14:42:03.562" v="643" actId="207"/>
        <pc:sldMasterMkLst>
          <pc:docMk/>
          <pc:sldMasterMk cId="3321107531" sldId="2147483648"/>
        </pc:sldMasterMkLst>
        <pc:sldLayoutChg chg="addSp delSp modSp mod">
          <pc:chgData name="Caio Oriente Pereira" userId="cf0d9a0a-e124-4c03-aa21-7658adfbd4b5" providerId="ADAL" clId="{0EB87AFF-CC43-40EB-B165-E223D3E91752}" dt="2025-11-26T14:42:03.562" v="643" actId="207"/>
          <pc:sldLayoutMkLst>
            <pc:docMk/>
            <pc:sldMasterMk cId="3321107531" sldId="2147483648"/>
            <pc:sldLayoutMk cId="1612226065" sldId="2147483660"/>
          </pc:sldLayoutMkLst>
          <pc:spChg chg="mod">
            <ac:chgData name="Caio Oriente Pereira" userId="cf0d9a0a-e124-4c03-aa21-7658adfbd4b5" providerId="ADAL" clId="{0EB87AFF-CC43-40EB-B165-E223D3E91752}" dt="2025-11-26T14:42:03.562" v="643" actId="207"/>
            <ac:spMkLst>
              <pc:docMk/>
              <pc:sldMasterMk cId="3321107531" sldId="2147483648"/>
              <pc:sldLayoutMk cId="1612226065" sldId="2147483660"/>
              <ac:spMk id="2" creationId="{78322206-6586-7324-09A4-EDD0D52C765B}"/>
            </ac:spMkLst>
          </pc:spChg>
          <pc:picChg chg="add mod">
            <ac:chgData name="Caio Oriente Pereira" userId="cf0d9a0a-e124-4c03-aa21-7658adfbd4b5" providerId="ADAL" clId="{0EB87AFF-CC43-40EB-B165-E223D3E91752}" dt="2025-11-26T13:59:49.953" v="218" actId="1036"/>
            <ac:picMkLst>
              <pc:docMk/>
              <pc:sldMasterMk cId="3321107531" sldId="2147483648"/>
              <pc:sldLayoutMk cId="1612226065" sldId="2147483660"/>
              <ac:picMk id="3" creationId="{6585E047-4116-BF63-2442-3FAE9F3266EC}"/>
            </ac:picMkLst>
          </pc:picChg>
          <pc:picChg chg="mod">
            <ac:chgData name="Caio Oriente Pereira" userId="cf0d9a0a-e124-4c03-aa21-7658adfbd4b5" providerId="ADAL" clId="{0EB87AFF-CC43-40EB-B165-E223D3E91752}" dt="2025-11-26T13:59:47.237" v="214" actId="12789"/>
            <ac:picMkLst>
              <pc:docMk/>
              <pc:sldMasterMk cId="3321107531" sldId="2147483648"/>
              <pc:sldLayoutMk cId="1612226065" sldId="2147483660"/>
              <ac:picMk id="6" creationId="{02E74F7E-2473-1CAA-C220-A6E6D7F1DE01}"/>
            </ac:picMkLst>
          </pc:pic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4DF51C-BFD0-483E-BDCF-F4238AC46EC8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6CF21-126A-46F8-8BE3-8AD4EF3AAE3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024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6CF21-126A-46F8-8BE3-8AD4EF3AAE32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63337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F64F02-8CDB-8D52-3405-C462BFB4A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727D9BD-4D35-5B33-997F-2F0CDD5945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B24770A-A45C-6A90-24C5-E36A5A13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53C8131-87A8-09E6-32AD-E24B43CA34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4313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83C135-BA15-3321-1931-BBC98E6CAD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6A788FE8-33D1-98F8-6A8C-9E968022D2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6FE0289-85E2-FD61-3964-DE76C19448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EE23156-BC61-C791-BA88-3205BBB537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56CF21-126A-46F8-8BE3-8AD4EF3AAE32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4627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884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606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043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867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6489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9834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5020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040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50984A-7D7F-CCFA-D679-3EE79667C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35FAB07-95A4-93FE-AA06-7DF18DE74B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555999-082C-9F48-7442-1CDE414BB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B0B4F8-D5F8-63FB-B33E-3528138C9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E6E3C1-4D02-833D-4713-F565ABAEE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0047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6F0808-A740-48F7-7007-7560B795D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D0B54B1-DCDC-D416-9AC4-5F7C71B50A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882F40-B75E-F854-B34F-8168524CB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ED36B21-5F48-EAE1-CF87-2C58C6DA7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5132DDE-3D2C-1E91-A20D-55B9E78D6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3512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A2DE907-E45C-1ECC-80F5-2373B10D94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D6F50CB-66A7-B0F3-7BC5-B24F4DE0FB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F4C00D1-C69F-8AD6-57B2-3FB048165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49B8F6-E271-0BA3-9B9F-1BF08BF35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71F45F-54C2-CCAF-7FF9-3FE43A9A3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350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com Único Canto Arredondado 1">
            <a:extLst>
              <a:ext uri="{FF2B5EF4-FFF2-40B4-BE49-F238E27FC236}">
                <a16:creationId xmlns:a16="http://schemas.microsoft.com/office/drawing/2014/main" id="{78322206-6586-7324-09A4-EDD0D52C765B}"/>
              </a:ext>
            </a:extLst>
          </p:cNvPr>
          <p:cNvSpPr>
            <a:spLocks/>
          </p:cNvSpPr>
          <p:nvPr userDrawn="1"/>
        </p:nvSpPr>
        <p:spPr>
          <a:xfrm rot="10800000" flipH="1">
            <a:off x="-10160" y="-10160"/>
            <a:ext cx="11594899" cy="902477"/>
          </a:xfrm>
          <a:prstGeom prst="round1Rect">
            <a:avLst>
              <a:gd name="adj" fmla="val 45148"/>
            </a:avLst>
          </a:prstGeom>
          <a:solidFill>
            <a:srgbClr val="0057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FF75F5-9821-044B-BDE6-C166D9B0DDCE}"/>
              </a:ext>
            </a:extLst>
          </p:cNvPr>
          <p:cNvSpPr txBox="1"/>
          <p:nvPr userDrawn="1"/>
        </p:nvSpPr>
        <p:spPr>
          <a:xfrm>
            <a:off x="-7635" y="967666"/>
            <a:ext cx="11904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2E74F7E-2473-1CAA-C220-A6E6D7F1D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2576" y="6262273"/>
            <a:ext cx="668850" cy="491592"/>
          </a:xfrm>
          <a:prstGeom prst="rect">
            <a:avLst/>
          </a:prstGeom>
        </p:spPr>
      </p:pic>
      <p:pic>
        <p:nvPicPr>
          <p:cNvPr id="3" name="Imagem 2" descr="Logotipo&#10;&#10;O conteúdo gerado por IA pode estar incorreto.">
            <a:extLst>
              <a:ext uri="{FF2B5EF4-FFF2-40B4-BE49-F238E27FC236}">
                <a16:creationId xmlns:a16="http://schemas.microsoft.com/office/drawing/2014/main" id="{6585E047-4116-BF63-2442-3FAE9F3266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8" t="18559" r="12784" b="7096"/>
          <a:stretch/>
        </p:blipFill>
        <p:spPr>
          <a:xfrm>
            <a:off x="10309671" y="6300373"/>
            <a:ext cx="965363" cy="491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26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51CA2F-2638-713C-2D88-78A5DB55B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DB0B0AE-A33B-578B-D505-4ACD957808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A1114B3-4896-4C8A-6451-EDB2FD25D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0AC0C06-F59B-1D81-93F8-4DE14361C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B9C808-E66F-4F0B-FB83-285E4B10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7578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A94D13-9827-A1E6-33A0-133ADD4D0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FEB4A93-2AE7-FEB8-AF23-F9CE3D2283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0B581A5-5FF4-2193-9886-8A0EB7C40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1186C9A-7390-A21B-38E6-189D456C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BE706B6-CDEF-62BB-B917-96B176749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1879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BE556B-34A6-0298-E82A-26B0E8CBE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7C2FA-7E6B-DE96-EC56-F562CB23ED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96438A-0571-DFF9-8BB7-353174168F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0762B3F-3078-C705-9B69-BD9D87791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FD5BAA0-AB75-9A51-7145-9F5646A91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A923519-E8A5-A4E9-0FF2-DF84DB41A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5636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CAF413-F0BA-3CA0-129C-366D68C83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84827E0-CE4F-C6B9-9D51-1EB6C5B02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BCD1152-9F23-D410-D47D-C8D0BA9F0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84092A1-C0F7-A392-8BF2-2CDC434909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CF35435-524B-364C-BBC6-6984ED01DC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EC0FE5DA-7D09-B2A7-E802-6A1A9B447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7B5D640D-1103-DF8F-2330-61C58B84A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ABF0519-C4E9-D9BF-1588-E365A8DBD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6607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7B55DF-D967-5444-51FF-48FFEF7AA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39D294A-C2B8-2A35-E6B1-A9AE411E0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D5B7693-76C0-8DDE-206F-FE0B8C48C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8D5FBE2-D2FF-6EA2-B2BA-6964D0553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4649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E679E63-336D-DDBF-DA4D-9B8215DBDF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372AE173-2FB4-592F-414D-2D1EFE4EC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B43D717-4AD1-2E91-EBAB-8C699DA80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6911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F84764-7DEF-C887-C51A-E1E178AE1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68B1EC0-C179-45F9-C098-1376B3A3C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8B46491-FE57-69B5-BA36-E2235563B4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115CE1-1F97-3990-72D6-63DF4D7F0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5CC41C2-223A-FE49-2D9B-78687FD49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07102AB-D27D-E9C4-FFA8-CB5AAFB1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0180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9D7773-B213-862C-B276-5D4231461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B15A436-6094-569A-85DA-B43018388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1A25572-7BD6-618C-135C-1DF22C1191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B04F67B-60AE-6470-C096-52FAD5D13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6D35CFC-1452-C6F3-7787-6ED8E3559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E3F9E69-2339-37D6-1159-EE135AA63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8814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3BEAC0F-EB30-FF1B-7CCB-C4A93B42D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122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395" imgH="396" progId="TCLayout.ActiveDocument.1">
                  <p:embed/>
                </p:oleObj>
              </mc:Choice>
              <mc:Fallback>
                <p:oleObj name="Slide do think-cell" r:id="rId15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BEAC0F-EB30-FF1B-7CCB-C4A93B42D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AE5DF69-60F9-732E-EB9E-EDB7783CC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B13629-8665-6858-896C-7E076977A4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7C9D773-053E-8DFB-C839-93B7A649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0310E-1249-46B8-8FDD-C6C2F49D3337}" type="datetimeFigureOut">
              <a:rPr lang="pt-BR" smtClean="0"/>
              <a:t>03/12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57B187-5320-F860-7BAD-3957F96D3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CD51385-4867-C537-76CC-1FC93115C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MSIPCMContentMarking" descr="{&quot;HashCode&quot;:-113365523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7FD8EFD6-946D-4707-EDFB-46BA27B191E2}"/>
              </a:ext>
            </a:extLst>
          </p:cNvPr>
          <p:cNvSpPr txBox="1"/>
          <p:nvPr userDrawn="1"/>
        </p:nvSpPr>
        <p:spPr>
          <a:xfrm>
            <a:off x="0" y="0"/>
            <a:ext cx="117023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FF"/>
                </a:solidFill>
                <a:latin typeface="Calibri" panose="020F0502020204030204" pitchFamily="34" charset="0"/>
              </a:rPr>
              <a:t>Uso Interno CPFL</a:t>
            </a:r>
          </a:p>
        </p:txBody>
      </p:sp>
    </p:spTree>
    <p:extLst>
      <p:ext uri="{BB962C8B-B14F-4D97-AF65-F5344CB8AC3E}">
        <p14:creationId xmlns:p14="http://schemas.microsoft.com/office/powerpoint/2010/main" val="332110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650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62181" y="97881"/>
            <a:ext cx="7867639" cy="639067"/>
          </a:xfrm>
        </p:spPr>
        <p:txBody>
          <a:bodyPr>
            <a:normAutofit fontScale="90000"/>
          </a:bodyPr>
          <a:lstStyle/>
          <a:p>
            <a:r>
              <a:rPr lang="pt-BR" dirty="0"/>
              <a:t>Guia para a Apresentação Execu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3354" y="860343"/>
            <a:ext cx="11833998" cy="5726106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2500" b="1" dirty="0"/>
              <a:t>Objetivo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500" dirty="0"/>
              <a:t>Apresentar a solução proposta e os principais aspectos do projeto de forma executiva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pt-BR" sz="15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rientações gerai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contém uma relação do conteúdo necessário para elaboração do material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pode ser elaborada em mais de 1 slide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uma linguagem clara, direta e didática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Dê preferência para esquemáticos, fluxogramas, imagens e afins a textos longos, mas insira os textos necessários para entendimento autossuficiente do material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“</a:t>
            </a:r>
            <a:r>
              <a:rPr lang="pt-BR" sz="2500" dirty="0" err="1">
                <a:solidFill>
                  <a:prstClr val="black"/>
                </a:solidFill>
              </a:rPr>
              <a:t>action</a:t>
            </a:r>
            <a:r>
              <a:rPr lang="pt-BR" sz="2500" dirty="0">
                <a:solidFill>
                  <a:prstClr val="black"/>
                </a:solidFill>
              </a:rPr>
              <a:t> </a:t>
            </a:r>
            <a:r>
              <a:rPr lang="pt-BR" sz="2500" dirty="0" err="1">
                <a:solidFill>
                  <a:prstClr val="black"/>
                </a:solidFill>
              </a:rPr>
              <a:t>titles</a:t>
            </a:r>
            <a:r>
              <a:rPr lang="pt-BR" sz="2500" dirty="0">
                <a:solidFill>
                  <a:prstClr val="black"/>
                </a:solidFill>
              </a:rPr>
              <a:t>” ao invés de títulos pontuais para resumir o conteúdo de cada slide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 </a:t>
            </a:r>
            <a:r>
              <a:rPr kumimoji="0" lang="pt-BR" sz="2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terial não deverá conter</a:t>
            </a:r>
            <a:r>
              <a:rPr lang="pt-BR" sz="2500" dirty="0">
                <a:solidFill>
                  <a:prstClr val="black"/>
                </a:solidFill>
              </a:rPr>
              <a:t> a</a:t>
            </a:r>
            <a:r>
              <a:rPr kumimoji="0" lang="pt-BR" sz="2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sentação</a:t>
            </a: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nstitucional dos parceiros, conteúdo já previsto no Anexo 10.1 – Formulário de Projeto (Capítulo 1)</a:t>
            </a:r>
            <a:endParaRPr lang="pt-BR" sz="25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2936875" y="723192"/>
            <a:ext cx="6318250" cy="635"/>
            <a:chOff x="0" y="561680"/>
            <a:chExt cx="9144000" cy="1098"/>
          </a:xfrm>
        </p:grpSpPr>
        <p:cxnSp>
          <p:nvCxnSpPr>
            <p:cNvPr id="15" name="Straight Connector 11"/>
            <p:cNvCxnSpPr/>
            <p:nvPr/>
          </p:nvCxnSpPr>
          <p:spPr>
            <a:xfrm>
              <a:off x="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16A8D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9"/>
            <p:cNvCxnSpPr/>
            <p:nvPr/>
          </p:nvCxnSpPr>
          <p:spPr>
            <a:xfrm>
              <a:off x="18288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F0871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20"/>
            <p:cNvCxnSpPr/>
            <p:nvPr/>
          </p:nvCxnSpPr>
          <p:spPr>
            <a:xfrm>
              <a:off x="36576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E21B2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21"/>
            <p:cNvCxnSpPr/>
            <p:nvPr/>
          </p:nvCxnSpPr>
          <p:spPr>
            <a:xfrm>
              <a:off x="54864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8DBB2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Connector 23"/>
            <p:cNvCxnSpPr/>
            <p:nvPr/>
          </p:nvCxnSpPr>
          <p:spPr>
            <a:xfrm>
              <a:off x="73152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5" name="Imagem 4">
            <a:extLst>
              <a:ext uri="{FF2B5EF4-FFF2-40B4-BE49-F238E27FC236}">
                <a16:creationId xmlns:a16="http://schemas.microsoft.com/office/drawing/2014/main" id="{362ED7EE-EF50-FC39-0EB3-62EA3BF4526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4810" y="97881"/>
            <a:ext cx="862542" cy="63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378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do dos custos do projeto por rubrica e instituição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lação dos principais itens qu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</a:t>
            </a:r>
            <a:r>
              <a:rPr lang="pt-BR" dirty="0" err="1">
                <a:solidFill>
                  <a:srgbClr val="636463"/>
                </a:solidFill>
                <a:latin typeface="Tahoma"/>
              </a:rPr>
              <a:t>õem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os custos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tipos de recursos serão necessários para entrega das frentes de desenvolviment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e dados (tipo, detalhamento, periodicidade, volume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raestrutura (qual?, por quanto tempo?, frequência estimada?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cursos Humanos (qual especialidade?, dedicação estimada [h], frequência das interações).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e quantificação das contrapartidas propostas pelos parceiros.</a:t>
            </a:r>
          </a:p>
        </p:txBody>
      </p:sp>
    </p:spTree>
    <p:extLst>
      <p:ext uri="{BB962C8B-B14F-4D97-AF65-F5344CB8AC3E}">
        <p14:creationId xmlns:p14="http://schemas.microsoft.com/office/powerpoint/2010/main" val="1042878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9626C707-67E1-8DAE-38E8-C969D11932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811546"/>
              </p:ext>
            </p:extLst>
          </p:nvPr>
        </p:nvGraphicFramePr>
        <p:xfrm>
          <a:off x="604468" y="1085912"/>
          <a:ext cx="10619997" cy="5174798"/>
        </p:xfrm>
        <a:graphic>
          <a:graphicData uri="http://schemas.openxmlformats.org/drawingml/2006/table">
            <a:tbl>
              <a:tblPr/>
              <a:tblGrid>
                <a:gridCol w="1693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3460630878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30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73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532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brica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D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PF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24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arceiro 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rceiro 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231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rceiro 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34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500" b="1" i="0" u="none" strike="noStrike" kern="1200" noProof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1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1626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2B021-D565-9688-BC0F-5D2387A92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5FF55A7-BFC5-524F-9E07-25093CD66F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FF55A7-BFC5-524F-9E07-25093CD66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535DE0-0FA7-8A3C-2350-D57261279C34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a principal contribuição aos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Rs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87362A0D-1936-759E-7212-DE1883E0A1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595795"/>
              </p:ext>
            </p:extLst>
          </p:nvPr>
        </p:nvGraphicFramePr>
        <p:xfrm>
          <a:off x="516000" y="958529"/>
          <a:ext cx="11160000" cy="5292000"/>
        </p:xfrm>
        <a:graphic>
          <a:graphicData uri="http://schemas.openxmlformats.org/drawingml/2006/table">
            <a:tbl>
              <a:tblPr firstRow="1" bandRow="1"/>
              <a:tblGrid>
                <a:gridCol w="5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754438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648461016"/>
                    </a:ext>
                  </a:extLst>
                </a:gridCol>
                <a:gridCol w="5400000">
                  <a:extLst>
                    <a:ext uri="{9D8B030D-6E8A-4147-A177-3AD203B41FA5}">
                      <a16:colId xmlns:a16="http://schemas.microsoft.com/office/drawing/2014/main" val="336036199"/>
                    </a:ext>
                  </a:extLst>
                </a:gridCol>
              </a:tblGrid>
              <a:tr h="5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13681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Tahoma"/>
                          <a:ea typeface="Tahoma"/>
                          <a:cs typeface="Tahoma"/>
                        </a:rPr>
                        <a:t>KR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E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noProof="0" dirty="0">
                          <a:latin typeface="Tahoma"/>
                          <a:ea typeface="Tahoma"/>
                          <a:cs typeface="Tahoma"/>
                        </a:rPr>
                        <a:t>Descrição dos Resultados-Chave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pt-BR" sz="1400" noProof="0" dirty="0">
                          <a:latin typeface="Tahoma"/>
                          <a:ea typeface="Tahoma"/>
                          <a:cs typeface="Tahoma"/>
                        </a:rPr>
                        <a:t>Peso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pt-BR" sz="1400" b="1" kern="1200" noProof="0" dirty="0">
                          <a:solidFill>
                            <a:schemeClr val="lt1"/>
                          </a:solidFill>
                          <a:latin typeface="Tahoma"/>
                          <a:ea typeface="Tahoma"/>
                          <a:cs typeface="Tahoma"/>
                        </a:rPr>
                        <a:t>Meta de Entrega do Projeto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1C2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400" b="1" kern="1200" noProof="0" dirty="0">
                          <a:solidFill>
                            <a:schemeClr val="lt1"/>
                          </a:solidFill>
                          <a:latin typeface="Tahoma"/>
                          <a:ea typeface="Tahoma"/>
                          <a:cs typeface="Tahoma"/>
                        </a:rPr>
                        <a:t>Comentários, Detalhes e Pontos de Atenção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2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Peças Audiovisuais</a:t>
                      </a:r>
                    </a:p>
                  </a:txBody>
                  <a:tcPr marL="108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301783"/>
                  </a:ext>
                </a:extLst>
              </a:tr>
              <a:tr h="5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4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Retorno Financeiro</a:t>
                      </a:r>
                    </a:p>
                  </a:txBody>
                  <a:tcPr marL="108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703961"/>
                  </a:ext>
                </a:extLst>
              </a:tr>
              <a:tr h="5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5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Uso de produtos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0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011982"/>
                  </a:ext>
                </a:extLst>
              </a:tr>
              <a:tr h="5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9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Temas Estratégicos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0325968"/>
                  </a:ext>
                </a:extLst>
              </a:tr>
              <a:tr h="5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5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TRL &gt; 6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noProof="0" dirty="0"/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37807"/>
                  </a:ext>
                </a:extLst>
              </a:tr>
              <a:tr h="43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6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Contrapartidas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0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369363"/>
                  </a:ext>
                </a:extLst>
              </a:tr>
              <a:tr h="43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7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Titulações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081803"/>
                  </a:ext>
                </a:extLst>
              </a:tr>
              <a:tr h="43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8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Propriedade Intelectual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114907"/>
                  </a:ext>
                </a:extLst>
              </a:tr>
              <a:tr h="43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9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Publicações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15550"/>
                  </a:ext>
                </a:extLst>
              </a:tr>
              <a:tr h="43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20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l" rtl="0" fontAlgn="ctr"/>
                      <a:r>
                        <a:rPr lang="pt-BR" sz="1300" b="0" i="0" u="none" strike="noStrike" noProof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Investmento</a:t>
                      </a:r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 N-NE-CO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pt-BR" sz="1300" b="0" i="0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300" b="0" i="0" u="none" strike="noStrike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9979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39192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EDEE-5CAB-BC4A-90EE-224804117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44AA2FB6-B3A8-AC21-7F8B-5CB271F39B8A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" b="7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01EB9A68-9EA1-3CF1-209E-C2DE41AC7A70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44DB1B3B-D35C-9D29-ADE4-3187421A4C7C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DDE1DC6D-ABFA-C407-D42F-99E3A6CEC221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0CAD15-8067-243F-3BB2-E137AD3F768E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2F160461-B916-379B-2BC1-AEA192FC611C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3F353342-A0F7-F714-3F5B-DF15D4EF5267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3EDB33A4-06A6-2F20-63E6-6DE26B76F1A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78B84D3-BEFF-B6E8-871C-AB4CD3D751C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sp>
        <p:nvSpPr>
          <p:cNvPr id="2" name="Forma Livre 31">
            <a:extLst>
              <a:ext uri="{FF2B5EF4-FFF2-40B4-BE49-F238E27FC236}">
                <a16:creationId xmlns:a16="http://schemas.microsoft.com/office/drawing/2014/main" id="{82DC480A-FDCB-3BF3-1B93-954B372A0396}"/>
              </a:ext>
            </a:extLst>
          </p:cNvPr>
          <p:cNvSpPr/>
          <p:nvPr/>
        </p:nvSpPr>
        <p:spPr>
          <a:xfrm>
            <a:off x="10079" y="446"/>
            <a:ext cx="4764929" cy="3495949"/>
          </a:xfrm>
          <a:custGeom>
            <a:avLst/>
            <a:gdLst>
              <a:gd name="connsiteX0" fmla="*/ 0 w 8272971"/>
              <a:gd name="connsiteY0" fmla="*/ 0 h 5034986"/>
              <a:gd name="connsiteX1" fmla="*/ 8272970 w 8272971"/>
              <a:gd name="connsiteY1" fmla="*/ 0 h 5034986"/>
              <a:gd name="connsiteX2" fmla="*/ 8272970 w 8272971"/>
              <a:gd name="connsiteY2" fmla="*/ 3046139 h 5034986"/>
              <a:gd name="connsiteX3" fmla="*/ 8272971 w 8272971"/>
              <a:gd name="connsiteY3" fmla="*/ 3046139 h 5034986"/>
              <a:gd name="connsiteX4" fmla="*/ 8272971 w 8272971"/>
              <a:gd name="connsiteY4" fmla="*/ 3701212 h 5034986"/>
              <a:gd name="connsiteX5" fmla="*/ 6910831 w 8272971"/>
              <a:gd name="connsiteY5" fmla="*/ 5034986 h 5034986"/>
              <a:gd name="connsiteX6" fmla="*/ 0 w 8272971"/>
              <a:gd name="connsiteY6" fmla="*/ 5034986 h 503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72971" h="5034986">
                <a:moveTo>
                  <a:pt x="0" y="0"/>
                </a:moveTo>
                <a:lnTo>
                  <a:pt x="8272970" y="0"/>
                </a:lnTo>
                <a:lnTo>
                  <a:pt x="8272970" y="3046139"/>
                </a:lnTo>
                <a:lnTo>
                  <a:pt x="8272971" y="3046139"/>
                </a:lnTo>
                <a:lnTo>
                  <a:pt x="8272971" y="3701212"/>
                </a:lnTo>
                <a:cubicBezTo>
                  <a:pt x="8272971" y="4437835"/>
                  <a:pt x="7663120" y="5034986"/>
                  <a:pt x="6910831" y="5034986"/>
                </a:cubicBezTo>
                <a:lnTo>
                  <a:pt x="0" y="503498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7" name="Forma Livre 27">
            <a:extLst>
              <a:ext uri="{FF2B5EF4-FFF2-40B4-BE49-F238E27FC236}">
                <a16:creationId xmlns:a16="http://schemas.microsoft.com/office/drawing/2014/main" id="{E5FC1028-179D-F9E5-3071-72EEE32946AA}"/>
              </a:ext>
            </a:extLst>
          </p:cNvPr>
          <p:cNvSpPr/>
          <p:nvPr/>
        </p:nvSpPr>
        <p:spPr>
          <a:xfrm flipV="1">
            <a:off x="1" y="-1"/>
            <a:ext cx="3704618" cy="5442727"/>
          </a:xfrm>
          <a:custGeom>
            <a:avLst/>
            <a:gdLst>
              <a:gd name="connsiteX0" fmla="*/ 0 w 6485883"/>
              <a:gd name="connsiteY0" fmla="*/ 7934742 h 7934742"/>
              <a:gd name="connsiteX1" fmla="*/ 6485883 w 6485883"/>
              <a:gd name="connsiteY1" fmla="*/ 7934742 h 7934742"/>
              <a:gd name="connsiteX2" fmla="*/ 6485883 w 6485883"/>
              <a:gd name="connsiteY2" fmla="*/ 1547265 h 7934742"/>
              <a:gd name="connsiteX3" fmla="*/ 4916824 w 6485883"/>
              <a:gd name="connsiteY3" fmla="*/ 0 h 7934742"/>
              <a:gd name="connsiteX4" fmla="*/ 0 w 6485883"/>
              <a:gd name="connsiteY4" fmla="*/ 0 h 793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85883" h="7934742">
                <a:moveTo>
                  <a:pt x="0" y="7934742"/>
                </a:moveTo>
                <a:lnTo>
                  <a:pt x="6485883" y="7934742"/>
                </a:lnTo>
                <a:lnTo>
                  <a:pt x="6485883" y="1547265"/>
                </a:lnTo>
                <a:cubicBezTo>
                  <a:pt x="6485883" y="684052"/>
                  <a:pt x="5561831" y="10218"/>
                  <a:pt x="491682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A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 dirty="0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671C09F1-D48E-97BC-1695-1D989DDCD1FF}"/>
              </a:ext>
            </a:extLst>
          </p:cNvPr>
          <p:cNvSpPr txBox="1"/>
          <p:nvPr/>
        </p:nvSpPr>
        <p:spPr>
          <a:xfrm>
            <a:off x="853797" y="1510914"/>
            <a:ext cx="285082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3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rigado!</a:t>
            </a:r>
            <a:endParaRPr lang="pt-BR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346DE331-04D1-18A5-B2D6-4AEAA48808E1}"/>
              </a:ext>
            </a:extLst>
          </p:cNvPr>
          <p:cNvSpPr txBox="1"/>
          <p:nvPr/>
        </p:nvSpPr>
        <p:spPr>
          <a:xfrm>
            <a:off x="962603" y="3504756"/>
            <a:ext cx="27420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marL="342900" indent="-342900">
              <a:buSzPct val="140000"/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pt-BR" dirty="0"/>
              <a:t>Contato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70805859-3F99-F2DE-9153-C64A0DADAC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28067" y="2257339"/>
            <a:ext cx="630877" cy="78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535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8959DDB1-68E0-F67E-7D9B-14A48D98078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" b="7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CB02A419-6D58-1E66-1E3A-743533B69CCF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84B8E434-4692-ECD9-4C9C-92BB27DE858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5D3EB621-8414-378B-1C2F-D62065EA8D58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2E6B6C-CB73-421A-E707-DEC95F431987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157EFFEC-7837-37BA-C531-FA06EAFDECA9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15C33A19-211B-DD7A-2E8C-81C8922C8B8B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82E193B3-9107-382A-865C-F9367472BD3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1554205-5AB7-5790-9432-749AC3EE15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768D3D0-67F6-2FD7-2199-15996DBC3CB9}"/>
              </a:ext>
            </a:extLst>
          </p:cNvPr>
          <p:cNvGrpSpPr/>
          <p:nvPr/>
        </p:nvGrpSpPr>
        <p:grpSpPr>
          <a:xfrm>
            <a:off x="0" y="384293"/>
            <a:ext cx="4387265" cy="2540536"/>
            <a:chOff x="7804734" y="679569"/>
            <a:chExt cx="4387265" cy="2540536"/>
          </a:xfrm>
        </p:grpSpPr>
        <p:sp>
          <p:nvSpPr>
            <p:cNvPr id="3" name="Forma Livre 23">
              <a:extLst>
                <a:ext uri="{FF2B5EF4-FFF2-40B4-BE49-F238E27FC236}">
                  <a16:creationId xmlns:a16="http://schemas.microsoft.com/office/drawing/2014/main" id="{00C009F6-494D-2A97-487A-2B2C8E3F80D6}"/>
                </a:ext>
              </a:extLst>
            </p:cNvPr>
            <p:cNvSpPr/>
            <p:nvPr/>
          </p:nvSpPr>
          <p:spPr>
            <a:xfrm flipH="1">
              <a:off x="7804734" y="689641"/>
              <a:ext cx="4387264" cy="2530464"/>
            </a:xfrm>
            <a:custGeom>
              <a:avLst/>
              <a:gdLst>
                <a:gd name="connsiteX0" fmla="*/ 6316879 w 6316879"/>
                <a:gd name="connsiteY0" fmla="*/ 0 h 3147151"/>
                <a:gd name="connsiteX1" fmla="*/ 6194514 w 6316879"/>
                <a:gd name="connsiteY1" fmla="*/ 0 h 3147151"/>
                <a:gd name="connsiteX2" fmla="*/ 0 w 6316879"/>
                <a:gd name="connsiteY2" fmla="*/ 0 h 3147151"/>
                <a:gd name="connsiteX3" fmla="*/ 0 w 6316879"/>
                <a:gd name="connsiteY3" fmla="*/ 3147151 h 3147151"/>
                <a:gd name="connsiteX4" fmla="*/ 5628491 w 6316879"/>
                <a:gd name="connsiteY4" fmla="*/ 3142383 h 3147151"/>
                <a:gd name="connsiteX5" fmla="*/ 6316879 w 6316879"/>
                <a:gd name="connsiteY5" fmla="*/ 2554296 h 314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6879" h="3147151">
                  <a:moveTo>
                    <a:pt x="6316879" y="0"/>
                  </a:moveTo>
                  <a:lnTo>
                    <a:pt x="6194514" y="0"/>
                  </a:lnTo>
                  <a:lnTo>
                    <a:pt x="0" y="0"/>
                  </a:lnTo>
                  <a:lnTo>
                    <a:pt x="0" y="3147151"/>
                  </a:lnTo>
                  <a:lnTo>
                    <a:pt x="5628491" y="3142383"/>
                  </a:lnTo>
                  <a:cubicBezTo>
                    <a:pt x="5934954" y="3142383"/>
                    <a:pt x="6316879" y="2834198"/>
                    <a:pt x="6316879" y="2554296"/>
                  </a:cubicBezTo>
                  <a:close/>
                </a:path>
              </a:pathLst>
            </a:custGeom>
            <a:solidFill>
              <a:srgbClr val="00AD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pt-BR" sz="1302"/>
                <a:t>    </a:t>
              </a:r>
            </a:p>
          </p:txBody>
        </p:sp>
        <p:sp>
          <p:nvSpPr>
            <p:cNvPr id="4" name="Forma Livre 24">
              <a:extLst>
                <a:ext uri="{FF2B5EF4-FFF2-40B4-BE49-F238E27FC236}">
                  <a16:creationId xmlns:a16="http://schemas.microsoft.com/office/drawing/2014/main" id="{E56B6223-0F23-4D87-3D46-2B2E657E6D6A}"/>
                </a:ext>
              </a:extLst>
            </p:cNvPr>
            <p:cNvSpPr/>
            <p:nvPr/>
          </p:nvSpPr>
          <p:spPr>
            <a:xfrm flipH="1">
              <a:off x="7805991" y="679569"/>
              <a:ext cx="4386008" cy="2184978"/>
            </a:xfrm>
            <a:custGeom>
              <a:avLst/>
              <a:gdLst>
                <a:gd name="connsiteX0" fmla="*/ 6316879 w 6316879"/>
                <a:gd name="connsiteY0" fmla="*/ 0 h 3147151"/>
                <a:gd name="connsiteX1" fmla="*/ 6194514 w 6316879"/>
                <a:gd name="connsiteY1" fmla="*/ 0 h 3147151"/>
                <a:gd name="connsiteX2" fmla="*/ 0 w 6316879"/>
                <a:gd name="connsiteY2" fmla="*/ 0 h 3147151"/>
                <a:gd name="connsiteX3" fmla="*/ 0 w 6316879"/>
                <a:gd name="connsiteY3" fmla="*/ 3147151 h 3147151"/>
                <a:gd name="connsiteX4" fmla="*/ 5628491 w 6316879"/>
                <a:gd name="connsiteY4" fmla="*/ 3142383 h 3147151"/>
                <a:gd name="connsiteX5" fmla="*/ 6316879 w 6316879"/>
                <a:gd name="connsiteY5" fmla="*/ 2554296 h 3147151"/>
                <a:gd name="connsiteX0" fmla="*/ 6316879 w 6316879"/>
                <a:gd name="connsiteY0" fmla="*/ 0 h 3147151"/>
                <a:gd name="connsiteX1" fmla="*/ 6194514 w 6316879"/>
                <a:gd name="connsiteY1" fmla="*/ 0 h 3147151"/>
                <a:gd name="connsiteX2" fmla="*/ 0 w 6316879"/>
                <a:gd name="connsiteY2" fmla="*/ 0 h 3147151"/>
                <a:gd name="connsiteX3" fmla="*/ 0 w 6316879"/>
                <a:gd name="connsiteY3" fmla="*/ 3147151 h 3147151"/>
                <a:gd name="connsiteX4" fmla="*/ 5628491 w 6316879"/>
                <a:gd name="connsiteY4" fmla="*/ 3142383 h 3147151"/>
                <a:gd name="connsiteX5" fmla="*/ 6306719 w 6316879"/>
                <a:gd name="connsiteY5" fmla="*/ 2527070 h 3147151"/>
                <a:gd name="connsiteX6" fmla="*/ 6316879 w 6316879"/>
                <a:gd name="connsiteY6" fmla="*/ 0 h 3147151"/>
                <a:gd name="connsiteX0" fmla="*/ 6316879 w 6316879"/>
                <a:gd name="connsiteY0" fmla="*/ 0 h 3147151"/>
                <a:gd name="connsiteX1" fmla="*/ 6194514 w 6316879"/>
                <a:gd name="connsiteY1" fmla="*/ 0 h 3147151"/>
                <a:gd name="connsiteX2" fmla="*/ 0 w 6316879"/>
                <a:gd name="connsiteY2" fmla="*/ 0 h 3147151"/>
                <a:gd name="connsiteX3" fmla="*/ 0 w 6316879"/>
                <a:gd name="connsiteY3" fmla="*/ 3147151 h 3147151"/>
                <a:gd name="connsiteX4" fmla="*/ 5628491 w 6316879"/>
                <a:gd name="connsiteY4" fmla="*/ 3142383 h 3147151"/>
                <a:gd name="connsiteX5" fmla="*/ 6306719 w 6316879"/>
                <a:gd name="connsiteY5" fmla="*/ 2453374 h 3147151"/>
                <a:gd name="connsiteX6" fmla="*/ 6316879 w 6316879"/>
                <a:gd name="connsiteY6" fmla="*/ 0 h 3147151"/>
                <a:gd name="connsiteX0" fmla="*/ 6316879 w 6316879"/>
                <a:gd name="connsiteY0" fmla="*/ 0 h 3147151"/>
                <a:gd name="connsiteX1" fmla="*/ 6194514 w 6316879"/>
                <a:gd name="connsiteY1" fmla="*/ 0 h 3147151"/>
                <a:gd name="connsiteX2" fmla="*/ 0 w 6316879"/>
                <a:gd name="connsiteY2" fmla="*/ 0 h 3147151"/>
                <a:gd name="connsiteX3" fmla="*/ 0 w 6316879"/>
                <a:gd name="connsiteY3" fmla="*/ 3147151 h 3147151"/>
                <a:gd name="connsiteX4" fmla="*/ 5628491 w 6316879"/>
                <a:gd name="connsiteY4" fmla="*/ 3142383 h 3147151"/>
                <a:gd name="connsiteX5" fmla="*/ 6306719 w 6316879"/>
                <a:gd name="connsiteY5" fmla="*/ 2453374 h 3147151"/>
                <a:gd name="connsiteX6" fmla="*/ 6316879 w 6316879"/>
                <a:gd name="connsiteY6" fmla="*/ 0 h 314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6879" h="3147151">
                  <a:moveTo>
                    <a:pt x="6316879" y="0"/>
                  </a:moveTo>
                  <a:lnTo>
                    <a:pt x="6194514" y="0"/>
                  </a:lnTo>
                  <a:lnTo>
                    <a:pt x="0" y="0"/>
                  </a:lnTo>
                  <a:lnTo>
                    <a:pt x="0" y="3147151"/>
                  </a:lnTo>
                  <a:lnTo>
                    <a:pt x="5628491" y="3142383"/>
                  </a:lnTo>
                  <a:cubicBezTo>
                    <a:pt x="5976205" y="3142384"/>
                    <a:pt x="6306719" y="2733276"/>
                    <a:pt x="6306719" y="2453374"/>
                  </a:cubicBezTo>
                  <a:cubicBezTo>
                    <a:pt x="6306719" y="1601942"/>
                    <a:pt x="6316879" y="851432"/>
                    <a:pt x="6316879" y="0"/>
                  </a:cubicBezTo>
                  <a:close/>
                </a:path>
              </a:pathLst>
            </a:custGeom>
            <a:solidFill>
              <a:srgbClr val="0057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pt-BR" sz="1302"/>
                <a:t>    </a:t>
              </a:r>
            </a:p>
          </p:txBody>
        </p:sp>
        <p:sp>
          <p:nvSpPr>
            <p:cNvPr id="5" name="TextBox 3">
              <a:extLst>
                <a:ext uri="{FF2B5EF4-FFF2-40B4-BE49-F238E27FC236}">
                  <a16:creationId xmlns:a16="http://schemas.microsoft.com/office/drawing/2014/main" id="{E9644F98-C0F2-8EFB-91B9-D03C52C46473}"/>
                </a:ext>
              </a:extLst>
            </p:cNvPr>
            <p:cNvSpPr txBox="1"/>
            <p:nvPr/>
          </p:nvSpPr>
          <p:spPr>
            <a:xfrm>
              <a:off x="7804734" y="768188"/>
              <a:ext cx="4245752" cy="5078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r"/>
              <a:r>
                <a:rPr lang="pt-BR" sz="3300" b="1" dirty="0">
                  <a:solidFill>
                    <a:schemeClr val="bg1"/>
                  </a:solidFill>
                  <a:latin typeface="Tahoma"/>
                  <a:ea typeface="Tahoma"/>
                  <a:cs typeface="Tahoma"/>
                </a:rPr>
                <a:t>Nome do Projeto</a:t>
              </a:r>
              <a:endParaRPr lang="pt-BR" sz="33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A3B88074-1C3D-E3B1-4ACA-2EC62AB06CB6}"/>
                </a:ext>
              </a:extLst>
            </p:cNvPr>
            <p:cNvSpPr txBox="1"/>
            <p:nvPr/>
          </p:nvSpPr>
          <p:spPr>
            <a:xfrm>
              <a:off x="10366827" y="2880743"/>
              <a:ext cx="1825171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r"/>
              <a:r>
                <a:rPr lang="pt-BR" sz="1500" dirty="0">
                  <a:solidFill>
                    <a:schemeClr val="bg1"/>
                  </a:solidFill>
                  <a:latin typeface="Tahoma"/>
                  <a:ea typeface="Tahoma"/>
                  <a:cs typeface="Tahoma"/>
                </a:rPr>
                <a:t>MÊS/ANO</a:t>
              </a:r>
              <a:endParaRPr lang="pt-BR" sz="1500" dirty="0"/>
            </a:p>
          </p:txBody>
        </p:sp>
      </p:grpSp>
    </p:spTree>
    <p:extLst>
      <p:ext uri="{BB962C8B-B14F-4D97-AF65-F5344CB8AC3E}">
        <p14:creationId xmlns:p14="http://schemas.microsoft.com/office/powerpoint/2010/main" val="613546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906F7BD5-F62E-E8E4-00FF-95EDB8280B48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57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3" name="Forma Livre 23">
            <a:extLst>
              <a:ext uri="{FF2B5EF4-FFF2-40B4-BE49-F238E27FC236}">
                <a16:creationId xmlns:a16="http://schemas.microsoft.com/office/drawing/2014/main" id="{C0562C2A-9316-24C2-8531-CA6A023C0069}"/>
              </a:ext>
            </a:extLst>
          </p:cNvPr>
          <p:cNvSpPr/>
          <p:nvPr/>
        </p:nvSpPr>
        <p:spPr>
          <a:xfrm rot="10800000">
            <a:off x="621904" y="0"/>
            <a:ext cx="11570095" cy="6278594"/>
          </a:xfrm>
          <a:custGeom>
            <a:avLst/>
            <a:gdLst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22922 w 16635199"/>
              <a:gd name="connsiteY8" fmla="*/ 893001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30417 w 16635199"/>
              <a:gd name="connsiteY8" fmla="*/ 1147834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13" fmla="*/ 16635199 w 16635199"/>
              <a:gd name="connsiteY13" fmla="*/ 9014942 h 9014942"/>
              <a:gd name="connsiteX0" fmla="*/ 16635199 w 16635199"/>
              <a:gd name="connsiteY0" fmla="*/ 9029931 h 9029931"/>
              <a:gd name="connsiteX1" fmla="*/ 2 w 16635199"/>
              <a:gd name="connsiteY1" fmla="*/ 9029931 h 9029931"/>
              <a:gd name="connsiteX2" fmla="*/ 2 w 16635199"/>
              <a:gd name="connsiteY2" fmla="*/ 7693725 h 9029931"/>
              <a:gd name="connsiteX3" fmla="*/ 0 w 16635199"/>
              <a:gd name="connsiteY3" fmla="*/ 7693725 h 9029931"/>
              <a:gd name="connsiteX4" fmla="*/ 0 w 16635199"/>
              <a:gd name="connsiteY4" fmla="*/ 14989 h 9029931"/>
              <a:gd name="connsiteX5" fmla="*/ 924138 w 16635199"/>
              <a:gd name="connsiteY5" fmla="*/ 14989 h 9029931"/>
              <a:gd name="connsiteX6" fmla="*/ 924138 w 16635199"/>
              <a:gd name="connsiteY6" fmla="*/ 14990 h 9029931"/>
              <a:gd name="connsiteX7" fmla="*/ 15617497 w 16635199"/>
              <a:gd name="connsiteY7" fmla="*/ 0 h 9029931"/>
              <a:gd name="connsiteX8" fmla="*/ 16630417 w 16635199"/>
              <a:gd name="connsiteY8" fmla="*/ 1162823 h 9029931"/>
              <a:gd name="connsiteX9" fmla="*/ 16622922 w 16635199"/>
              <a:gd name="connsiteY9" fmla="*/ 5039192 h 9029931"/>
              <a:gd name="connsiteX10" fmla="*/ 16635197 w 16635199"/>
              <a:gd name="connsiteY10" fmla="*/ 5039192 h 9029931"/>
              <a:gd name="connsiteX11" fmla="*/ 16635197 w 16635199"/>
              <a:gd name="connsiteY11" fmla="*/ 7690555 h 9029931"/>
              <a:gd name="connsiteX12" fmla="*/ 16635199 w 16635199"/>
              <a:gd name="connsiteY12" fmla="*/ 7690555 h 9029931"/>
              <a:gd name="connsiteX13" fmla="*/ 16635199 w 16635199"/>
              <a:gd name="connsiteY13" fmla="*/ 9029931 h 9029931"/>
              <a:gd name="connsiteX0" fmla="*/ 16635199 w 16635199"/>
              <a:gd name="connsiteY0" fmla="*/ 9029992 h 9029992"/>
              <a:gd name="connsiteX1" fmla="*/ 2 w 16635199"/>
              <a:gd name="connsiteY1" fmla="*/ 9029992 h 9029992"/>
              <a:gd name="connsiteX2" fmla="*/ 2 w 16635199"/>
              <a:gd name="connsiteY2" fmla="*/ 7693786 h 9029992"/>
              <a:gd name="connsiteX3" fmla="*/ 0 w 16635199"/>
              <a:gd name="connsiteY3" fmla="*/ 7693786 h 9029992"/>
              <a:gd name="connsiteX4" fmla="*/ 0 w 16635199"/>
              <a:gd name="connsiteY4" fmla="*/ 15050 h 9029992"/>
              <a:gd name="connsiteX5" fmla="*/ 924138 w 16635199"/>
              <a:gd name="connsiteY5" fmla="*/ 15050 h 9029992"/>
              <a:gd name="connsiteX6" fmla="*/ 924138 w 16635199"/>
              <a:gd name="connsiteY6" fmla="*/ 15051 h 9029992"/>
              <a:gd name="connsiteX7" fmla="*/ 15617497 w 16635199"/>
              <a:gd name="connsiteY7" fmla="*/ 61 h 9029992"/>
              <a:gd name="connsiteX8" fmla="*/ 16630417 w 16635199"/>
              <a:gd name="connsiteY8" fmla="*/ 1162884 h 9029992"/>
              <a:gd name="connsiteX9" fmla="*/ 16622922 w 16635199"/>
              <a:gd name="connsiteY9" fmla="*/ 5039253 h 9029992"/>
              <a:gd name="connsiteX10" fmla="*/ 16635197 w 16635199"/>
              <a:gd name="connsiteY10" fmla="*/ 5039253 h 9029992"/>
              <a:gd name="connsiteX11" fmla="*/ 16635197 w 16635199"/>
              <a:gd name="connsiteY11" fmla="*/ 7690616 h 9029992"/>
              <a:gd name="connsiteX12" fmla="*/ 16635199 w 16635199"/>
              <a:gd name="connsiteY12" fmla="*/ 7690616 h 9029992"/>
              <a:gd name="connsiteX13" fmla="*/ 16635199 w 16635199"/>
              <a:gd name="connsiteY13" fmla="*/ 9029992 h 9029992"/>
              <a:gd name="connsiteX0" fmla="*/ 16635199 w 16635199"/>
              <a:gd name="connsiteY0" fmla="*/ 9037488 h 9037488"/>
              <a:gd name="connsiteX1" fmla="*/ 2 w 16635199"/>
              <a:gd name="connsiteY1" fmla="*/ 9037488 h 9037488"/>
              <a:gd name="connsiteX2" fmla="*/ 2 w 16635199"/>
              <a:gd name="connsiteY2" fmla="*/ 7701282 h 9037488"/>
              <a:gd name="connsiteX3" fmla="*/ 0 w 16635199"/>
              <a:gd name="connsiteY3" fmla="*/ 7701282 h 9037488"/>
              <a:gd name="connsiteX4" fmla="*/ 0 w 16635199"/>
              <a:gd name="connsiteY4" fmla="*/ 22546 h 9037488"/>
              <a:gd name="connsiteX5" fmla="*/ 924138 w 16635199"/>
              <a:gd name="connsiteY5" fmla="*/ 22546 h 9037488"/>
              <a:gd name="connsiteX6" fmla="*/ 924138 w 16635199"/>
              <a:gd name="connsiteY6" fmla="*/ 22547 h 9037488"/>
              <a:gd name="connsiteX7" fmla="*/ 15527556 w 16635199"/>
              <a:gd name="connsiteY7" fmla="*/ 61 h 9037488"/>
              <a:gd name="connsiteX8" fmla="*/ 16630417 w 16635199"/>
              <a:gd name="connsiteY8" fmla="*/ 1170380 h 9037488"/>
              <a:gd name="connsiteX9" fmla="*/ 16622922 w 16635199"/>
              <a:gd name="connsiteY9" fmla="*/ 5046749 h 9037488"/>
              <a:gd name="connsiteX10" fmla="*/ 16635197 w 16635199"/>
              <a:gd name="connsiteY10" fmla="*/ 5046749 h 9037488"/>
              <a:gd name="connsiteX11" fmla="*/ 16635197 w 16635199"/>
              <a:gd name="connsiteY11" fmla="*/ 7698112 h 9037488"/>
              <a:gd name="connsiteX12" fmla="*/ 16635199 w 16635199"/>
              <a:gd name="connsiteY12" fmla="*/ 7698112 h 9037488"/>
              <a:gd name="connsiteX13" fmla="*/ 16635199 w 16635199"/>
              <a:gd name="connsiteY13" fmla="*/ 9037488 h 9037488"/>
              <a:gd name="connsiteX0" fmla="*/ 16635199 w 16635199"/>
              <a:gd name="connsiteY0" fmla="*/ 9037666 h 9037666"/>
              <a:gd name="connsiteX1" fmla="*/ 2 w 16635199"/>
              <a:gd name="connsiteY1" fmla="*/ 9037666 h 9037666"/>
              <a:gd name="connsiteX2" fmla="*/ 2 w 16635199"/>
              <a:gd name="connsiteY2" fmla="*/ 7701460 h 9037666"/>
              <a:gd name="connsiteX3" fmla="*/ 0 w 16635199"/>
              <a:gd name="connsiteY3" fmla="*/ 7701460 h 9037666"/>
              <a:gd name="connsiteX4" fmla="*/ 0 w 16635199"/>
              <a:gd name="connsiteY4" fmla="*/ 22724 h 9037666"/>
              <a:gd name="connsiteX5" fmla="*/ 924138 w 16635199"/>
              <a:gd name="connsiteY5" fmla="*/ 22724 h 9037666"/>
              <a:gd name="connsiteX6" fmla="*/ 924138 w 16635199"/>
              <a:gd name="connsiteY6" fmla="*/ 22725 h 9037666"/>
              <a:gd name="connsiteX7" fmla="*/ 15527556 w 16635199"/>
              <a:gd name="connsiteY7" fmla="*/ 239 h 9037666"/>
              <a:gd name="connsiteX8" fmla="*/ 16630417 w 16635199"/>
              <a:gd name="connsiteY8" fmla="*/ 1170558 h 9037666"/>
              <a:gd name="connsiteX9" fmla="*/ 16622922 w 16635199"/>
              <a:gd name="connsiteY9" fmla="*/ 5046927 h 9037666"/>
              <a:gd name="connsiteX10" fmla="*/ 16635197 w 16635199"/>
              <a:gd name="connsiteY10" fmla="*/ 5046927 h 9037666"/>
              <a:gd name="connsiteX11" fmla="*/ 16635197 w 16635199"/>
              <a:gd name="connsiteY11" fmla="*/ 7698290 h 9037666"/>
              <a:gd name="connsiteX12" fmla="*/ 16635199 w 16635199"/>
              <a:gd name="connsiteY12" fmla="*/ 7698290 h 9037666"/>
              <a:gd name="connsiteX13" fmla="*/ 16635199 w 16635199"/>
              <a:gd name="connsiteY13" fmla="*/ 9037666 h 903766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51166 h 9051166"/>
              <a:gd name="connsiteX1" fmla="*/ 2 w 16635199"/>
              <a:gd name="connsiteY1" fmla="*/ 9051166 h 9051166"/>
              <a:gd name="connsiteX2" fmla="*/ 2 w 16635199"/>
              <a:gd name="connsiteY2" fmla="*/ 7714960 h 9051166"/>
              <a:gd name="connsiteX3" fmla="*/ 0 w 16635199"/>
              <a:gd name="connsiteY3" fmla="*/ 7714960 h 9051166"/>
              <a:gd name="connsiteX4" fmla="*/ 0 w 16635199"/>
              <a:gd name="connsiteY4" fmla="*/ 36224 h 9051166"/>
              <a:gd name="connsiteX5" fmla="*/ 924138 w 16635199"/>
              <a:gd name="connsiteY5" fmla="*/ 36224 h 9051166"/>
              <a:gd name="connsiteX6" fmla="*/ 924138 w 16635199"/>
              <a:gd name="connsiteY6" fmla="*/ 36225 h 9051166"/>
              <a:gd name="connsiteX7" fmla="*/ 15245168 w 16635199"/>
              <a:gd name="connsiteY7" fmla="*/ 292 h 9051166"/>
              <a:gd name="connsiteX8" fmla="*/ 16630417 w 16635199"/>
              <a:gd name="connsiteY8" fmla="*/ 1184058 h 9051166"/>
              <a:gd name="connsiteX9" fmla="*/ 16622922 w 16635199"/>
              <a:gd name="connsiteY9" fmla="*/ 5060427 h 9051166"/>
              <a:gd name="connsiteX10" fmla="*/ 16635197 w 16635199"/>
              <a:gd name="connsiteY10" fmla="*/ 5060427 h 9051166"/>
              <a:gd name="connsiteX11" fmla="*/ 16635197 w 16635199"/>
              <a:gd name="connsiteY11" fmla="*/ 7711790 h 9051166"/>
              <a:gd name="connsiteX12" fmla="*/ 16635199 w 16635199"/>
              <a:gd name="connsiteY12" fmla="*/ 7711790 h 9051166"/>
              <a:gd name="connsiteX13" fmla="*/ 16635199 w 16635199"/>
              <a:gd name="connsiteY13" fmla="*/ 9051166 h 9051166"/>
              <a:gd name="connsiteX0" fmla="*/ 16635199 w 16635199"/>
              <a:gd name="connsiteY0" fmla="*/ 9051116 h 9051116"/>
              <a:gd name="connsiteX1" fmla="*/ 2 w 16635199"/>
              <a:gd name="connsiteY1" fmla="*/ 9051116 h 9051116"/>
              <a:gd name="connsiteX2" fmla="*/ 2 w 16635199"/>
              <a:gd name="connsiteY2" fmla="*/ 7714910 h 9051116"/>
              <a:gd name="connsiteX3" fmla="*/ 0 w 16635199"/>
              <a:gd name="connsiteY3" fmla="*/ 7714910 h 9051116"/>
              <a:gd name="connsiteX4" fmla="*/ 0 w 16635199"/>
              <a:gd name="connsiteY4" fmla="*/ 36174 h 9051116"/>
              <a:gd name="connsiteX5" fmla="*/ 924138 w 16635199"/>
              <a:gd name="connsiteY5" fmla="*/ 36174 h 9051116"/>
              <a:gd name="connsiteX6" fmla="*/ 924138 w 16635199"/>
              <a:gd name="connsiteY6" fmla="*/ 36175 h 9051116"/>
              <a:gd name="connsiteX7" fmla="*/ 15245168 w 16635199"/>
              <a:gd name="connsiteY7" fmla="*/ 242 h 9051116"/>
              <a:gd name="connsiteX8" fmla="*/ 16616970 w 16635199"/>
              <a:gd name="connsiteY8" fmla="*/ 1305031 h 9051116"/>
              <a:gd name="connsiteX9" fmla="*/ 16622922 w 16635199"/>
              <a:gd name="connsiteY9" fmla="*/ 5060377 h 9051116"/>
              <a:gd name="connsiteX10" fmla="*/ 16635197 w 16635199"/>
              <a:gd name="connsiteY10" fmla="*/ 5060377 h 9051116"/>
              <a:gd name="connsiteX11" fmla="*/ 16635197 w 16635199"/>
              <a:gd name="connsiteY11" fmla="*/ 7711740 h 9051116"/>
              <a:gd name="connsiteX12" fmla="*/ 16635199 w 16635199"/>
              <a:gd name="connsiteY12" fmla="*/ 7711740 h 9051116"/>
              <a:gd name="connsiteX13" fmla="*/ 16635199 w 16635199"/>
              <a:gd name="connsiteY13" fmla="*/ 9051116 h 9051116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245168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048399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2697 h 9052697"/>
              <a:gd name="connsiteX1" fmla="*/ 2 w 16635199"/>
              <a:gd name="connsiteY1" fmla="*/ 9052697 h 9052697"/>
              <a:gd name="connsiteX2" fmla="*/ 2 w 16635199"/>
              <a:gd name="connsiteY2" fmla="*/ 7716491 h 9052697"/>
              <a:gd name="connsiteX3" fmla="*/ 0 w 16635199"/>
              <a:gd name="connsiteY3" fmla="*/ 7716491 h 9052697"/>
              <a:gd name="connsiteX4" fmla="*/ 0 w 16635199"/>
              <a:gd name="connsiteY4" fmla="*/ 37755 h 9052697"/>
              <a:gd name="connsiteX5" fmla="*/ 924138 w 16635199"/>
              <a:gd name="connsiteY5" fmla="*/ 37755 h 9052697"/>
              <a:gd name="connsiteX6" fmla="*/ 924138 w 16635199"/>
              <a:gd name="connsiteY6" fmla="*/ 37756 h 9052697"/>
              <a:gd name="connsiteX7" fmla="*/ 15048399 w 16635199"/>
              <a:gd name="connsiteY7" fmla="*/ 1823 h 9052697"/>
              <a:gd name="connsiteX8" fmla="*/ 16616970 w 16635199"/>
              <a:gd name="connsiteY8" fmla="*/ 1306612 h 9052697"/>
              <a:gd name="connsiteX9" fmla="*/ 16622922 w 16635199"/>
              <a:gd name="connsiteY9" fmla="*/ 5061958 h 9052697"/>
              <a:gd name="connsiteX10" fmla="*/ 16635197 w 16635199"/>
              <a:gd name="connsiteY10" fmla="*/ 5061958 h 9052697"/>
              <a:gd name="connsiteX11" fmla="*/ 16635197 w 16635199"/>
              <a:gd name="connsiteY11" fmla="*/ 7713321 h 9052697"/>
              <a:gd name="connsiteX12" fmla="*/ 16635199 w 16635199"/>
              <a:gd name="connsiteY12" fmla="*/ 7713321 h 9052697"/>
              <a:gd name="connsiteX13" fmla="*/ 16635199 w 16635199"/>
              <a:gd name="connsiteY13" fmla="*/ 9052697 h 9052697"/>
              <a:gd name="connsiteX0" fmla="*/ 16635199 w 16651694"/>
              <a:gd name="connsiteY0" fmla="*/ 9052726 h 9052726"/>
              <a:gd name="connsiteX1" fmla="*/ 2 w 16651694"/>
              <a:gd name="connsiteY1" fmla="*/ 9052726 h 9052726"/>
              <a:gd name="connsiteX2" fmla="*/ 2 w 16651694"/>
              <a:gd name="connsiteY2" fmla="*/ 7716520 h 9052726"/>
              <a:gd name="connsiteX3" fmla="*/ 0 w 16651694"/>
              <a:gd name="connsiteY3" fmla="*/ 7716520 h 9052726"/>
              <a:gd name="connsiteX4" fmla="*/ 0 w 16651694"/>
              <a:gd name="connsiteY4" fmla="*/ 37784 h 9052726"/>
              <a:gd name="connsiteX5" fmla="*/ 924138 w 16651694"/>
              <a:gd name="connsiteY5" fmla="*/ 37784 h 9052726"/>
              <a:gd name="connsiteX6" fmla="*/ 924138 w 16651694"/>
              <a:gd name="connsiteY6" fmla="*/ 37785 h 9052726"/>
              <a:gd name="connsiteX7" fmla="*/ 15048399 w 16651694"/>
              <a:gd name="connsiteY7" fmla="*/ 1852 h 9052726"/>
              <a:gd name="connsiteX8" fmla="*/ 16651694 w 16651694"/>
              <a:gd name="connsiteY8" fmla="*/ 1295066 h 9052726"/>
              <a:gd name="connsiteX9" fmla="*/ 16622922 w 16651694"/>
              <a:gd name="connsiteY9" fmla="*/ 5061987 h 9052726"/>
              <a:gd name="connsiteX10" fmla="*/ 16635197 w 16651694"/>
              <a:gd name="connsiteY10" fmla="*/ 5061987 h 9052726"/>
              <a:gd name="connsiteX11" fmla="*/ 16635197 w 16651694"/>
              <a:gd name="connsiteY11" fmla="*/ 7713350 h 9052726"/>
              <a:gd name="connsiteX12" fmla="*/ 16635199 w 16651694"/>
              <a:gd name="connsiteY12" fmla="*/ 7713350 h 9052726"/>
              <a:gd name="connsiteX13" fmla="*/ 16635199 w 16651694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42025"/>
              <a:gd name="connsiteY0" fmla="*/ 9052755 h 9052755"/>
              <a:gd name="connsiteX1" fmla="*/ 2 w 16642025"/>
              <a:gd name="connsiteY1" fmla="*/ 9052755 h 9052755"/>
              <a:gd name="connsiteX2" fmla="*/ 2 w 16642025"/>
              <a:gd name="connsiteY2" fmla="*/ 7716549 h 9052755"/>
              <a:gd name="connsiteX3" fmla="*/ 0 w 16642025"/>
              <a:gd name="connsiteY3" fmla="*/ 7716549 h 9052755"/>
              <a:gd name="connsiteX4" fmla="*/ 0 w 16642025"/>
              <a:gd name="connsiteY4" fmla="*/ 37813 h 9052755"/>
              <a:gd name="connsiteX5" fmla="*/ 924138 w 16642025"/>
              <a:gd name="connsiteY5" fmla="*/ 37813 h 9052755"/>
              <a:gd name="connsiteX6" fmla="*/ 924138 w 16642025"/>
              <a:gd name="connsiteY6" fmla="*/ 37814 h 9052755"/>
              <a:gd name="connsiteX7" fmla="*/ 15048399 w 16642025"/>
              <a:gd name="connsiteY7" fmla="*/ 1881 h 9052755"/>
              <a:gd name="connsiteX8" fmla="*/ 16628546 w 16642025"/>
              <a:gd name="connsiteY8" fmla="*/ 1283520 h 9052755"/>
              <a:gd name="connsiteX9" fmla="*/ 16622922 w 16642025"/>
              <a:gd name="connsiteY9" fmla="*/ 5062016 h 9052755"/>
              <a:gd name="connsiteX10" fmla="*/ 16635197 w 16642025"/>
              <a:gd name="connsiteY10" fmla="*/ 5062016 h 9052755"/>
              <a:gd name="connsiteX11" fmla="*/ 16635197 w 16642025"/>
              <a:gd name="connsiteY11" fmla="*/ 7713379 h 9052755"/>
              <a:gd name="connsiteX12" fmla="*/ 16635199 w 16642025"/>
              <a:gd name="connsiteY12" fmla="*/ 7713379 h 9052755"/>
              <a:gd name="connsiteX13" fmla="*/ 16635199 w 16642025"/>
              <a:gd name="connsiteY13" fmla="*/ 9052755 h 9052755"/>
              <a:gd name="connsiteX0" fmla="*/ 16635199 w 16642025"/>
              <a:gd name="connsiteY0" fmla="*/ 9052457 h 9052457"/>
              <a:gd name="connsiteX1" fmla="*/ 2 w 16642025"/>
              <a:gd name="connsiteY1" fmla="*/ 9052457 h 9052457"/>
              <a:gd name="connsiteX2" fmla="*/ 2 w 16642025"/>
              <a:gd name="connsiteY2" fmla="*/ 7716251 h 9052457"/>
              <a:gd name="connsiteX3" fmla="*/ 0 w 16642025"/>
              <a:gd name="connsiteY3" fmla="*/ 7716251 h 9052457"/>
              <a:gd name="connsiteX4" fmla="*/ 0 w 16642025"/>
              <a:gd name="connsiteY4" fmla="*/ 37515 h 9052457"/>
              <a:gd name="connsiteX5" fmla="*/ 924138 w 16642025"/>
              <a:gd name="connsiteY5" fmla="*/ 37515 h 9052457"/>
              <a:gd name="connsiteX6" fmla="*/ 924138 w 16642025"/>
              <a:gd name="connsiteY6" fmla="*/ 37516 h 9052457"/>
              <a:gd name="connsiteX7" fmla="*/ 15048399 w 16642025"/>
              <a:gd name="connsiteY7" fmla="*/ 1583 h 9052457"/>
              <a:gd name="connsiteX8" fmla="*/ 16628546 w 16642025"/>
              <a:gd name="connsiteY8" fmla="*/ 1283222 h 9052457"/>
              <a:gd name="connsiteX9" fmla="*/ 16622922 w 16642025"/>
              <a:gd name="connsiteY9" fmla="*/ 5061718 h 9052457"/>
              <a:gd name="connsiteX10" fmla="*/ 16635197 w 16642025"/>
              <a:gd name="connsiteY10" fmla="*/ 5061718 h 9052457"/>
              <a:gd name="connsiteX11" fmla="*/ 16635197 w 16642025"/>
              <a:gd name="connsiteY11" fmla="*/ 7713081 h 9052457"/>
              <a:gd name="connsiteX12" fmla="*/ 16635199 w 16642025"/>
              <a:gd name="connsiteY12" fmla="*/ 7713081 h 9052457"/>
              <a:gd name="connsiteX13" fmla="*/ 16635199 w 16642025"/>
              <a:gd name="connsiteY13" fmla="*/ 9052457 h 9052457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41833 h 9041833"/>
              <a:gd name="connsiteX1" fmla="*/ 2 w 16642025"/>
              <a:gd name="connsiteY1" fmla="*/ 9041833 h 9041833"/>
              <a:gd name="connsiteX2" fmla="*/ 2 w 16642025"/>
              <a:gd name="connsiteY2" fmla="*/ 7705627 h 9041833"/>
              <a:gd name="connsiteX3" fmla="*/ 0 w 16642025"/>
              <a:gd name="connsiteY3" fmla="*/ 7705627 h 9041833"/>
              <a:gd name="connsiteX4" fmla="*/ 0 w 16642025"/>
              <a:gd name="connsiteY4" fmla="*/ 26891 h 9041833"/>
              <a:gd name="connsiteX5" fmla="*/ 924138 w 16642025"/>
              <a:gd name="connsiteY5" fmla="*/ 26891 h 9041833"/>
              <a:gd name="connsiteX6" fmla="*/ 924138 w 16642025"/>
              <a:gd name="connsiteY6" fmla="*/ 26892 h 9041833"/>
              <a:gd name="connsiteX7" fmla="*/ 15013675 w 16642025"/>
              <a:gd name="connsiteY7" fmla="*/ 2534 h 9041833"/>
              <a:gd name="connsiteX8" fmla="*/ 16628546 w 16642025"/>
              <a:gd name="connsiteY8" fmla="*/ 1272598 h 9041833"/>
              <a:gd name="connsiteX9" fmla="*/ 16622922 w 16642025"/>
              <a:gd name="connsiteY9" fmla="*/ 5051094 h 9041833"/>
              <a:gd name="connsiteX10" fmla="*/ 16635197 w 16642025"/>
              <a:gd name="connsiteY10" fmla="*/ 5051094 h 9041833"/>
              <a:gd name="connsiteX11" fmla="*/ 16635197 w 16642025"/>
              <a:gd name="connsiteY11" fmla="*/ 7702457 h 9041833"/>
              <a:gd name="connsiteX12" fmla="*/ 16635199 w 16642025"/>
              <a:gd name="connsiteY12" fmla="*/ 7702457 h 9041833"/>
              <a:gd name="connsiteX13" fmla="*/ 16635199 w 16642025"/>
              <a:gd name="connsiteY13" fmla="*/ 9041833 h 9041833"/>
              <a:gd name="connsiteX0" fmla="*/ 16635199 w 16642025"/>
              <a:gd name="connsiteY0" fmla="*/ 9041736 h 9041736"/>
              <a:gd name="connsiteX1" fmla="*/ 2 w 16642025"/>
              <a:gd name="connsiteY1" fmla="*/ 9041736 h 9041736"/>
              <a:gd name="connsiteX2" fmla="*/ 2 w 16642025"/>
              <a:gd name="connsiteY2" fmla="*/ 7705530 h 9041736"/>
              <a:gd name="connsiteX3" fmla="*/ 0 w 16642025"/>
              <a:gd name="connsiteY3" fmla="*/ 7705530 h 9041736"/>
              <a:gd name="connsiteX4" fmla="*/ 0 w 16642025"/>
              <a:gd name="connsiteY4" fmla="*/ 26794 h 9041736"/>
              <a:gd name="connsiteX5" fmla="*/ 924138 w 16642025"/>
              <a:gd name="connsiteY5" fmla="*/ 26794 h 9041736"/>
              <a:gd name="connsiteX6" fmla="*/ 924138 w 16642025"/>
              <a:gd name="connsiteY6" fmla="*/ 26795 h 9041736"/>
              <a:gd name="connsiteX7" fmla="*/ 15013675 w 16642025"/>
              <a:gd name="connsiteY7" fmla="*/ 2437 h 9041736"/>
              <a:gd name="connsiteX8" fmla="*/ 16628546 w 16642025"/>
              <a:gd name="connsiteY8" fmla="*/ 1307225 h 9041736"/>
              <a:gd name="connsiteX9" fmla="*/ 16622922 w 16642025"/>
              <a:gd name="connsiteY9" fmla="*/ 5050997 h 9041736"/>
              <a:gd name="connsiteX10" fmla="*/ 16635197 w 16642025"/>
              <a:gd name="connsiteY10" fmla="*/ 5050997 h 9041736"/>
              <a:gd name="connsiteX11" fmla="*/ 16635197 w 16642025"/>
              <a:gd name="connsiteY11" fmla="*/ 7702360 h 9041736"/>
              <a:gd name="connsiteX12" fmla="*/ 16635199 w 16642025"/>
              <a:gd name="connsiteY12" fmla="*/ 7702360 h 9041736"/>
              <a:gd name="connsiteX13" fmla="*/ 16635199 w 16642025"/>
              <a:gd name="connsiteY13" fmla="*/ 9041736 h 9041736"/>
              <a:gd name="connsiteX0" fmla="*/ 16635199 w 16635199"/>
              <a:gd name="connsiteY0" fmla="*/ 9041767 h 9041767"/>
              <a:gd name="connsiteX1" fmla="*/ 2 w 16635199"/>
              <a:gd name="connsiteY1" fmla="*/ 9041767 h 9041767"/>
              <a:gd name="connsiteX2" fmla="*/ 2 w 16635199"/>
              <a:gd name="connsiteY2" fmla="*/ 7705561 h 9041767"/>
              <a:gd name="connsiteX3" fmla="*/ 0 w 16635199"/>
              <a:gd name="connsiteY3" fmla="*/ 7705561 h 9041767"/>
              <a:gd name="connsiteX4" fmla="*/ 0 w 16635199"/>
              <a:gd name="connsiteY4" fmla="*/ 26825 h 9041767"/>
              <a:gd name="connsiteX5" fmla="*/ 924138 w 16635199"/>
              <a:gd name="connsiteY5" fmla="*/ 26825 h 9041767"/>
              <a:gd name="connsiteX6" fmla="*/ 924138 w 16635199"/>
              <a:gd name="connsiteY6" fmla="*/ 26826 h 9041767"/>
              <a:gd name="connsiteX7" fmla="*/ 15013675 w 16635199"/>
              <a:gd name="connsiteY7" fmla="*/ 2468 h 9041767"/>
              <a:gd name="connsiteX8" fmla="*/ 16593822 w 16635199"/>
              <a:gd name="connsiteY8" fmla="*/ 1295682 h 9041767"/>
              <a:gd name="connsiteX9" fmla="*/ 16622922 w 16635199"/>
              <a:gd name="connsiteY9" fmla="*/ 5051028 h 9041767"/>
              <a:gd name="connsiteX10" fmla="*/ 16635197 w 16635199"/>
              <a:gd name="connsiteY10" fmla="*/ 5051028 h 9041767"/>
              <a:gd name="connsiteX11" fmla="*/ 16635197 w 16635199"/>
              <a:gd name="connsiteY11" fmla="*/ 7702391 h 9041767"/>
              <a:gd name="connsiteX12" fmla="*/ 16635199 w 16635199"/>
              <a:gd name="connsiteY12" fmla="*/ 7702391 h 9041767"/>
              <a:gd name="connsiteX13" fmla="*/ 16635199 w 16635199"/>
              <a:gd name="connsiteY13" fmla="*/ 9041767 h 9041767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51060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39486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201532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35197 w 16650409"/>
              <a:gd name="connsiteY10" fmla="*/ 5201532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46771 w 16650409"/>
              <a:gd name="connsiteY10" fmla="*/ 5386727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47120"/>
              <a:gd name="connsiteY0" fmla="*/ 9041241 h 9041241"/>
              <a:gd name="connsiteX1" fmla="*/ 2 w 16647120"/>
              <a:gd name="connsiteY1" fmla="*/ 9041241 h 9041241"/>
              <a:gd name="connsiteX2" fmla="*/ 2 w 16647120"/>
              <a:gd name="connsiteY2" fmla="*/ 7705035 h 9041241"/>
              <a:gd name="connsiteX3" fmla="*/ 0 w 16647120"/>
              <a:gd name="connsiteY3" fmla="*/ 7705035 h 9041241"/>
              <a:gd name="connsiteX4" fmla="*/ 0 w 16647120"/>
              <a:gd name="connsiteY4" fmla="*/ 26299 h 9041241"/>
              <a:gd name="connsiteX5" fmla="*/ 924138 w 16647120"/>
              <a:gd name="connsiteY5" fmla="*/ 26299 h 9041241"/>
              <a:gd name="connsiteX6" fmla="*/ 924138 w 16647120"/>
              <a:gd name="connsiteY6" fmla="*/ 26300 h 9041241"/>
              <a:gd name="connsiteX7" fmla="*/ 15013675 w 16647120"/>
              <a:gd name="connsiteY7" fmla="*/ 1942 h 9041241"/>
              <a:gd name="connsiteX8" fmla="*/ 16616971 w 16647120"/>
              <a:gd name="connsiteY8" fmla="*/ 1538224 h 9041241"/>
              <a:gd name="connsiteX9" fmla="*/ 16646071 w 16647120"/>
              <a:gd name="connsiteY9" fmla="*/ 4876882 h 9041241"/>
              <a:gd name="connsiteX10" fmla="*/ 16646771 w 16647120"/>
              <a:gd name="connsiteY10" fmla="*/ 5386169 h 9041241"/>
              <a:gd name="connsiteX11" fmla="*/ 16635197 w 16647120"/>
              <a:gd name="connsiteY11" fmla="*/ 7701865 h 9041241"/>
              <a:gd name="connsiteX12" fmla="*/ 16635199 w 16647120"/>
              <a:gd name="connsiteY12" fmla="*/ 7701865 h 9041241"/>
              <a:gd name="connsiteX13" fmla="*/ 16635199 w 16647120"/>
              <a:gd name="connsiteY13" fmla="*/ 9041241 h 9041241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6771"/>
              <a:gd name="connsiteY0" fmla="*/ 9041962 h 9041962"/>
              <a:gd name="connsiteX1" fmla="*/ 2 w 16646771"/>
              <a:gd name="connsiteY1" fmla="*/ 9041962 h 9041962"/>
              <a:gd name="connsiteX2" fmla="*/ 2 w 16646771"/>
              <a:gd name="connsiteY2" fmla="*/ 7705756 h 9041962"/>
              <a:gd name="connsiteX3" fmla="*/ 0 w 16646771"/>
              <a:gd name="connsiteY3" fmla="*/ 7705756 h 9041962"/>
              <a:gd name="connsiteX4" fmla="*/ 0 w 16646771"/>
              <a:gd name="connsiteY4" fmla="*/ 27020 h 9041962"/>
              <a:gd name="connsiteX5" fmla="*/ 924138 w 16646771"/>
              <a:gd name="connsiteY5" fmla="*/ 27020 h 9041962"/>
              <a:gd name="connsiteX6" fmla="*/ 924138 w 16646771"/>
              <a:gd name="connsiteY6" fmla="*/ 27021 h 9041962"/>
              <a:gd name="connsiteX7" fmla="*/ 15013675 w 16646771"/>
              <a:gd name="connsiteY7" fmla="*/ 2663 h 9041962"/>
              <a:gd name="connsiteX8" fmla="*/ 16616971 w 16646771"/>
              <a:gd name="connsiteY8" fmla="*/ 1538945 h 9041962"/>
              <a:gd name="connsiteX9" fmla="*/ 16646071 w 16646771"/>
              <a:gd name="connsiteY9" fmla="*/ 4877603 h 9041962"/>
              <a:gd name="connsiteX10" fmla="*/ 16646771 w 16646771"/>
              <a:gd name="connsiteY10" fmla="*/ 5386890 h 9041962"/>
              <a:gd name="connsiteX11" fmla="*/ 16635197 w 16646771"/>
              <a:gd name="connsiteY11" fmla="*/ 7702586 h 9041962"/>
              <a:gd name="connsiteX12" fmla="*/ 16635199 w 16646771"/>
              <a:gd name="connsiteY12" fmla="*/ 7702586 h 9041962"/>
              <a:gd name="connsiteX13" fmla="*/ 16635199 w 16646771"/>
              <a:gd name="connsiteY13" fmla="*/ 9041962 h 9041962"/>
              <a:gd name="connsiteX0" fmla="*/ 16635199 w 16663650"/>
              <a:gd name="connsiteY0" fmla="*/ 9042000 h 9042000"/>
              <a:gd name="connsiteX1" fmla="*/ 2 w 16663650"/>
              <a:gd name="connsiteY1" fmla="*/ 9042000 h 9042000"/>
              <a:gd name="connsiteX2" fmla="*/ 2 w 16663650"/>
              <a:gd name="connsiteY2" fmla="*/ 7705794 h 9042000"/>
              <a:gd name="connsiteX3" fmla="*/ 0 w 16663650"/>
              <a:gd name="connsiteY3" fmla="*/ 7705794 h 9042000"/>
              <a:gd name="connsiteX4" fmla="*/ 0 w 16663650"/>
              <a:gd name="connsiteY4" fmla="*/ 27058 h 9042000"/>
              <a:gd name="connsiteX5" fmla="*/ 924138 w 16663650"/>
              <a:gd name="connsiteY5" fmla="*/ 27058 h 9042000"/>
              <a:gd name="connsiteX6" fmla="*/ 924138 w 16663650"/>
              <a:gd name="connsiteY6" fmla="*/ 27059 h 9042000"/>
              <a:gd name="connsiteX7" fmla="*/ 15013675 w 16663650"/>
              <a:gd name="connsiteY7" fmla="*/ 2701 h 9042000"/>
              <a:gd name="connsiteX8" fmla="*/ 16663270 w 16663650"/>
              <a:gd name="connsiteY8" fmla="*/ 1527408 h 9042000"/>
              <a:gd name="connsiteX9" fmla="*/ 16646071 w 16663650"/>
              <a:gd name="connsiteY9" fmla="*/ 4877641 h 9042000"/>
              <a:gd name="connsiteX10" fmla="*/ 16646771 w 16663650"/>
              <a:gd name="connsiteY10" fmla="*/ 5386928 h 9042000"/>
              <a:gd name="connsiteX11" fmla="*/ 16635197 w 16663650"/>
              <a:gd name="connsiteY11" fmla="*/ 7702624 h 9042000"/>
              <a:gd name="connsiteX12" fmla="*/ 16635199 w 16663650"/>
              <a:gd name="connsiteY12" fmla="*/ 7702624 h 9042000"/>
              <a:gd name="connsiteX13" fmla="*/ 16635199 w 16663650"/>
              <a:gd name="connsiteY13" fmla="*/ 9042000 h 90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663650" h="9042000">
                <a:moveTo>
                  <a:pt x="16635199" y="9042000"/>
                </a:moveTo>
                <a:lnTo>
                  <a:pt x="2" y="9042000"/>
                </a:lnTo>
                <a:lnTo>
                  <a:pt x="2" y="7705794"/>
                </a:lnTo>
                <a:lnTo>
                  <a:pt x="0" y="7705794"/>
                </a:lnTo>
                <a:lnTo>
                  <a:pt x="0" y="27058"/>
                </a:lnTo>
                <a:lnTo>
                  <a:pt x="924138" y="27058"/>
                </a:lnTo>
                <a:lnTo>
                  <a:pt x="924138" y="27059"/>
                </a:lnTo>
                <a:lnTo>
                  <a:pt x="15013675" y="2701"/>
                </a:lnTo>
                <a:cubicBezTo>
                  <a:pt x="15932344" y="-51481"/>
                  <a:pt x="16683004" y="718191"/>
                  <a:pt x="16663270" y="1527408"/>
                </a:cubicBezTo>
                <a:cubicBezTo>
                  <a:pt x="16660772" y="2831106"/>
                  <a:pt x="16648569" y="3585518"/>
                  <a:pt x="16646071" y="4877641"/>
                </a:cubicBezTo>
                <a:cubicBezTo>
                  <a:pt x="16646304" y="5047403"/>
                  <a:pt x="16646538" y="5217166"/>
                  <a:pt x="16646771" y="5386928"/>
                </a:cubicBezTo>
                <a:lnTo>
                  <a:pt x="16635197" y="7702624"/>
                </a:lnTo>
                <a:lnTo>
                  <a:pt x="16635199" y="7702624"/>
                </a:lnTo>
                <a:lnTo>
                  <a:pt x="16635199" y="9042000"/>
                </a:lnTo>
                <a:close/>
              </a:path>
            </a:pathLst>
          </a:custGeom>
          <a:solidFill>
            <a:srgbClr val="00A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F2FDCB-E6A7-D256-8955-8892963E64D2}"/>
              </a:ext>
            </a:extLst>
          </p:cNvPr>
          <p:cNvSpPr txBox="1"/>
          <p:nvPr/>
        </p:nvSpPr>
        <p:spPr>
          <a:xfrm>
            <a:off x="2832286" y="581764"/>
            <a:ext cx="3847340" cy="640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4165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ENDA</a:t>
            </a:r>
            <a:endParaRPr lang="pt-BR" sz="2222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939424E-0C1D-16A9-8108-531726EA05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36157" y="979033"/>
            <a:ext cx="523009" cy="523009"/>
          </a:xfrm>
          <a:prstGeom prst="rect">
            <a:avLst/>
          </a:prstGeom>
        </p:spPr>
      </p:pic>
      <p:cxnSp>
        <p:nvCxnSpPr>
          <p:cNvPr id="7" name="Conector Reto 35">
            <a:extLst>
              <a:ext uri="{FF2B5EF4-FFF2-40B4-BE49-F238E27FC236}">
                <a16:creationId xmlns:a16="http://schemas.microsoft.com/office/drawing/2014/main" id="{A0522DE0-81D8-3069-B05E-507DC0875D21}"/>
              </a:ext>
            </a:extLst>
          </p:cNvPr>
          <p:cNvCxnSpPr>
            <a:cxnSpLocks/>
          </p:cNvCxnSpPr>
          <p:nvPr/>
        </p:nvCxnSpPr>
        <p:spPr>
          <a:xfrm flipH="1">
            <a:off x="8984204" y="4453203"/>
            <a:ext cx="324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rco 7">
            <a:extLst>
              <a:ext uri="{FF2B5EF4-FFF2-40B4-BE49-F238E27FC236}">
                <a16:creationId xmlns:a16="http://schemas.microsoft.com/office/drawing/2014/main" id="{4A48817F-A6DE-95AD-E43E-49C7F4EC2EF9}"/>
              </a:ext>
            </a:extLst>
          </p:cNvPr>
          <p:cNvSpPr/>
          <p:nvPr/>
        </p:nvSpPr>
        <p:spPr>
          <a:xfrm rot="10800000">
            <a:off x="7909340" y="2299716"/>
            <a:ext cx="2153486" cy="2153487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9" name="Conector Reto 37">
            <a:extLst>
              <a:ext uri="{FF2B5EF4-FFF2-40B4-BE49-F238E27FC236}">
                <a16:creationId xmlns:a16="http://schemas.microsoft.com/office/drawing/2014/main" id="{8078E4D6-46B5-6351-D058-A82046AA00CA}"/>
              </a:ext>
            </a:extLst>
          </p:cNvPr>
          <p:cNvCxnSpPr>
            <a:cxnSpLocks/>
          </p:cNvCxnSpPr>
          <p:nvPr/>
        </p:nvCxnSpPr>
        <p:spPr>
          <a:xfrm rot="10800000">
            <a:off x="8988211" y="2299716"/>
            <a:ext cx="17302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co 9">
            <a:extLst>
              <a:ext uri="{FF2B5EF4-FFF2-40B4-BE49-F238E27FC236}">
                <a16:creationId xmlns:a16="http://schemas.microsoft.com/office/drawing/2014/main" id="{9CF3521C-6395-BD5F-2E6D-BAF6B50A8F7E}"/>
              </a:ext>
            </a:extLst>
          </p:cNvPr>
          <p:cNvSpPr/>
          <p:nvPr/>
        </p:nvSpPr>
        <p:spPr>
          <a:xfrm>
            <a:off x="10168700" y="1192550"/>
            <a:ext cx="1107166" cy="1107166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11" name="Conector Reto 39">
            <a:extLst>
              <a:ext uri="{FF2B5EF4-FFF2-40B4-BE49-F238E27FC236}">
                <a16:creationId xmlns:a16="http://schemas.microsoft.com/office/drawing/2014/main" id="{6232DE98-A8FB-7076-5EEC-63F3732C7066}"/>
              </a:ext>
            </a:extLst>
          </p:cNvPr>
          <p:cNvCxnSpPr>
            <a:cxnSpLocks/>
          </p:cNvCxnSpPr>
          <p:nvPr/>
        </p:nvCxnSpPr>
        <p:spPr>
          <a:xfrm flipH="1">
            <a:off x="2659166" y="1188573"/>
            <a:ext cx="806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39">
            <a:extLst>
              <a:ext uri="{FF2B5EF4-FFF2-40B4-BE49-F238E27FC236}">
                <a16:creationId xmlns:a16="http://schemas.microsoft.com/office/drawing/2014/main" id="{8D64C9E9-A799-CD8A-AA8B-F6FECB7321BA}"/>
              </a:ext>
            </a:extLst>
          </p:cNvPr>
          <p:cNvCxnSpPr>
            <a:cxnSpLocks/>
          </p:cNvCxnSpPr>
          <p:nvPr/>
        </p:nvCxnSpPr>
        <p:spPr>
          <a:xfrm flipH="1">
            <a:off x="-18379" y="1194286"/>
            <a:ext cx="227014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AB7744D-41FD-6211-89E8-61B76742CC36}"/>
              </a:ext>
            </a:extLst>
          </p:cNvPr>
          <p:cNvSpPr txBox="1"/>
          <p:nvPr/>
        </p:nvSpPr>
        <p:spPr>
          <a:xfrm>
            <a:off x="1945177" y="1582314"/>
            <a:ext cx="6122894" cy="4555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Visão Geral da Solução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talhamento do Produto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valiação de Mercado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4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dicadores de Resultados e </a:t>
            </a:r>
            <a:r>
              <a:rPr lang="pt-BR" sz="30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 Projeto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5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ronograma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6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ustos e Contrapartidas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7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ontribuição aos </a:t>
            </a:r>
            <a:r>
              <a:rPr lang="pt-BR" sz="30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Rs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 PEQuI</a:t>
            </a:r>
          </a:p>
        </p:txBody>
      </p: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F505DD80-B83F-52B0-E51D-1450B42173B7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519320F-C16F-B448-1AA8-5EF904A7F3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814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crevendo diferencial/aspecto principal da solução frente ao problema a ser enfrentad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16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xto em que o projeto está inserido – descrição e quantificação do cenário “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 e do desafio que o projeto se propõe a solucionar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bjetivos – o que se espera desenvolver e como atende as respectivas motivações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copo – o que é o projeto e o caminho de como será feito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quemático (versão mais visual) da solução aplicada em cenário real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ultados e benefícios esperados – qual a potencial aplicação da solução? Há potencial de mercado?</a:t>
            </a:r>
          </a:p>
        </p:txBody>
      </p:sp>
    </p:spTree>
    <p:extLst>
      <p:ext uri="{BB962C8B-B14F-4D97-AF65-F5344CB8AC3E}">
        <p14:creationId xmlns:p14="http://schemas.microsoft.com/office/powerpoint/2010/main" val="2215345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principais aspectos d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526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do principal produto do projeto (ex.: metodologia, sistema, plataforma, dispositivo), detalhando o que esperar de maneira tangível ao final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 que o produto pretende fazer? Quais são os problemas que ele resolverá? Quais são os benefícios que ele oferecerá aos usuári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úblico-alvo: Quem vai usar o produto? Quais são suas necessidades e desej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aracterísticas: Quais são as características e funcionalidades do produto? Como ele vai se comparar aos produtos concorrentes? 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ço: Quanto vai custar o produto? Ele é acessível para o público-alvo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Maturidade Tecnológica: qual o TRL inicial do produto? Qual a expectativa de atingimento? Como se dará a evolução do TRL ao longo do projeto?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102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contextualizando o cenário de mercado e o diferencial oferecido pel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655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enário externo e oportunidad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B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ve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elação/menção de patentes, produtos existentes no mercado, produções científicas de elevado impacto que também atendam às motivações do proje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Abertura sobre o que pode ser melhorado e quais as principais tendências do mercado no tema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ferencial de mercado do produto e contribuiçõ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o produto atende a desafios ainda não contemplados pelas soluções de mercad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a abordagem proposta difere ou melhora as abordagens anteriores (considere métodos experimentais, análises estatísticas, modelos teóricos, estudos de caso)?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atenteabilidade e potencial de mercado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Destacar a parte do projeto passível de propriedade intelectual e descrever o tipo de pedido ou registro em questão</a:t>
            </a:r>
          </a:p>
        </p:txBody>
      </p:sp>
    </p:spTree>
    <p:extLst>
      <p:ext uri="{BB962C8B-B14F-4D97-AF65-F5344CB8AC3E}">
        <p14:creationId xmlns:p14="http://schemas.microsoft.com/office/powerpoint/2010/main" val="723911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indicadores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 proje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99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s indicadores de resultados do projeto permitem acompanhar o andamento do desenvolvimento e dar subsídio às análises e tomadas de decisão n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– sequência de atividades e frentes de desenvolvimento, internalização do produto e </a:t>
            </a:r>
            <a:r>
              <a:rPr lang="pt-BR" i="1" dirty="0">
                <a:solidFill>
                  <a:srgbClr val="636463"/>
                </a:solidFill>
                <a:latin typeface="Tahoma"/>
              </a:rPr>
              <a:t>follow-up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de seu potencial retorno financeiro;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eva e elenque os indicadores de resultados propostos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iderando o cenário “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 </a:t>
            </a:r>
            <a:r>
              <a:rPr kumimoji="0" lang="pt-BR" i="1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, calcule o valor base dos indicadores como ponto de partida para avaliação do impacto da soluçã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z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de projeto descrevendo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nvolvidas, os indicadores considerados e as decisões a serem tomadas em cada cas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relacione os indicadores 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com a evolução de TRL do produto ao longo do desenvolvimento do projeto.</a:t>
            </a:r>
          </a:p>
        </p:txBody>
      </p:sp>
    </p:spTree>
    <p:extLst>
      <p:ext uri="{BB962C8B-B14F-4D97-AF65-F5344CB8AC3E}">
        <p14:creationId xmlns:p14="http://schemas.microsoft.com/office/powerpoint/2010/main" val="2823622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onograma d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garantir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, ex.: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i) etapas de desenvolvimen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tipos de teste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validação dos entregáveis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l a metodologia/estratégia será aplicada em cada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premissas foram assumidas para o desenvolvimento dos entregáveis?</a:t>
            </a:r>
          </a:p>
        </p:txBody>
      </p:sp>
    </p:spTree>
    <p:extLst>
      <p:ext uri="{BB962C8B-B14F-4D97-AF65-F5344CB8AC3E}">
        <p14:creationId xmlns:p14="http://schemas.microsoft.com/office/powerpoint/2010/main" val="2449049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a 8">
            <a:extLst>
              <a:ext uri="{FF2B5EF4-FFF2-40B4-BE49-F238E27FC236}">
                <a16:creationId xmlns:a16="http://schemas.microsoft.com/office/drawing/2014/main" id="{6AC67756-41E3-B97D-D6D7-C11B288F06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208488"/>
              </p:ext>
            </p:extLst>
          </p:nvPr>
        </p:nvGraphicFramePr>
        <p:xfrm>
          <a:off x="24000" y="1031436"/>
          <a:ext cx="6768000" cy="446400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ividade</a:t>
                      </a:r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/ </a:t>
                      </a:r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ês</a:t>
                      </a:r>
                      <a:endParaRPr lang="en-US" sz="1400" b="1" i="0" u="none" strike="noStrike" noProof="0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kern="1200" baseline="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kern="1200" baseline="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noProof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kern="1200" baseline="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trela de 5 pontas 9">
            <a:extLst>
              <a:ext uri="{FF2B5EF4-FFF2-40B4-BE49-F238E27FC236}">
                <a16:creationId xmlns:a16="http://schemas.microsoft.com/office/drawing/2014/main" id="{E1F47231-8780-5BAE-2C77-EFE5F0AD42D4}"/>
              </a:ext>
            </a:extLst>
          </p:cNvPr>
          <p:cNvSpPr/>
          <p:nvPr/>
        </p:nvSpPr>
        <p:spPr>
          <a:xfrm>
            <a:off x="11720407" y="322853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1">
            <a:extLst>
              <a:ext uri="{FF2B5EF4-FFF2-40B4-BE49-F238E27FC236}">
                <a16:creationId xmlns:a16="http://schemas.microsoft.com/office/drawing/2014/main" id="{14CF9FE5-4C13-165E-F439-3968074C899E}"/>
              </a:ext>
            </a:extLst>
          </p:cNvPr>
          <p:cNvSpPr/>
          <p:nvPr/>
        </p:nvSpPr>
        <p:spPr>
          <a:xfrm>
            <a:off x="7194457" y="2567513"/>
            <a:ext cx="4343721" cy="139184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Macro </a:t>
            </a:r>
            <a:r>
              <a:rPr lang="en-US" sz="2000" dirty="0" err="1">
                <a:solidFill>
                  <a:srgbClr val="FF0000"/>
                </a:solidFill>
              </a:rPr>
              <a:t>cronograma</a:t>
            </a:r>
            <a:r>
              <a:rPr lang="en-US" sz="2000" dirty="0">
                <a:solidFill>
                  <a:srgbClr val="FF0000"/>
                </a:solidFill>
              </a:rPr>
              <a:t> das </a:t>
            </a:r>
            <a:r>
              <a:rPr lang="en-US" sz="2000" dirty="0" err="1">
                <a:solidFill>
                  <a:srgbClr val="FF0000"/>
                </a:solidFill>
              </a:rPr>
              <a:t>principais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frentes</a:t>
            </a:r>
            <a:r>
              <a:rPr lang="en-US" sz="2000" dirty="0">
                <a:solidFill>
                  <a:srgbClr val="FF0000"/>
                </a:solidFill>
              </a:rPr>
              <a:t> de </a:t>
            </a:r>
            <a:r>
              <a:rPr lang="en-US" sz="2000" dirty="0" err="1">
                <a:solidFill>
                  <a:srgbClr val="FF0000"/>
                </a:solidFill>
              </a:rPr>
              <a:t>desenvolvimento</a:t>
            </a:r>
            <a:r>
              <a:rPr lang="en-US" sz="2000" dirty="0">
                <a:solidFill>
                  <a:srgbClr val="FF0000"/>
                </a:solidFill>
              </a:rPr>
              <a:t> e </a:t>
            </a:r>
            <a:r>
              <a:rPr lang="en-US" sz="2000" dirty="0" err="1">
                <a:solidFill>
                  <a:srgbClr val="FF0000"/>
                </a:solidFill>
              </a:rPr>
              <a:t>entregas</a:t>
            </a:r>
            <a:r>
              <a:rPr lang="en-US" sz="2000" dirty="0">
                <a:solidFill>
                  <a:srgbClr val="FF0000"/>
                </a:solidFill>
              </a:rPr>
              <a:t> do </a:t>
            </a:r>
            <a:r>
              <a:rPr lang="en-US" sz="2000" dirty="0" err="1">
                <a:solidFill>
                  <a:srgbClr val="FF0000"/>
                </a:solidFill>
              </a:rPr>
              <a:t>projeto</a:t>
            </a:r>
            <a:r>
              <a:rPr lang="en-US" sz="2000" dirty="0">
                <a:solidFill>
                  <a:srgbClr val="FF0000"/>
                </a:solidFill>
              </a:rPr>
              <a:t> (</a:t>
            </a:r>
            <a:r>
              <a:rPr lang="en-US" sz="2000" dirty="0" err="1">
                <a:solidFill>
                  <a:srgbClr val="FF0000"/>
                </a:solidFill>
              </a:rPr>
              <a:t>destacadas</a:t>
            </a:r>
            <a:r>
              <a:rPr lang="en-US" sz="2000" dirty="0">
                <a:solidFill>
                  <a:srgbClr val="FF0000"/>
                </a:solidFill>
              </a:rPr>
              <a:t> com </a:t>
            </a:r>
            <a:r>
              <a:rPr lang="en-US" sz="2000" dirty="0" err="1">
                <a:solidFill>
                  <a:srgbClr val="FF0000"/>
                </a:solidFill>
              </a:rPr>
              <a:t>estrela</a:t>
            </a:r>
            <a:r>
              <a:rPr lang="en-US" sz="2000" dirty="0">
                <a:solidFill>
                  <a:srgbClr val="FF0000"/>
                </a:solidFill>
              </a:rPr>
              <a:t>) – </a:t>
            </a:r>
            <a:r>
              <a:rPr lang="en-US" sz="2000" dirty="0" err="1">
                <a:solidFill>
                  <a:srgbClr val="FF0000"/>
                </a:solidFill>
              </a:rPr>
              <a:t>ajuste</a:t>
            </a:r>
            <a:r>
              <a:rPr lang="en-US" sz="2000" dirty="0">
                <a:solidFill>
                  <a:srgbClr val="FF0000"/>
                </a:solidFill>
              </a:rPr>
              <a:t> a </a:t>
            </a:r>
            <a:r>
              <a:rPr lang="en-US" sz="2000" dirty="0" err="1">
                <a:solidFill>
                  <a:srgbClr val="FF0000"/>
                </a:solidFill>
              </a:rPr>
              <a:t>tabela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conforme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duração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284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k768lRJCy_eOcT44j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8c19c69e-7bc4-4fab-978b-495419bcc32a">
      <Terms xmlns="http://schemas.microsoft.com/office/infopath/2007/PartnerControls"/>
    </lcf76f155ced4ddcb4097134ff3c332f>
    <_ip_UnifiedCompliancePolicyProperties xmlns="http://schemas.microsoft.com/sharepoint/v3" xsi:nil="true"/>
    <_Flow_SignoffStatus xmlns="8c19c69e-7bc4-4fab-978b-495419bcc32a" xsi:nil="true"/>
    <TaxCatchAll xmlns="0bc69b18-73d2-4256-ac60-b8b95ad1ced7" xsi:nil="true"/>
    <Respons_x00e1_vel xmlns="8c19c69e-7bc4-4fab-978b-495419bcc32a">
      <UserInfo>
        <DisplayName/>
        <AccountId xsi:nil="true"/>
        <AccountType/>
      </UserInfo>
    </Respons_x00e1_vel>
    <Coment_x00e1_rios xmlns="8c19c69e-7bc4-4fab-978b-495419bcc32a" xsi:nil="true"/>
    <Status xmlns="8c19c69e-7bc4-4fab-978b-495419bcc32a" xsi:nil="true"/>
    <TipodeDocumento xmlns="8c19c69e-7bc4-4fab-978b-495419bcc32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5F04C26E5D1D64E811D6EDC93ADF7AD" ma:contentTypeVersion="23" ma:contentTypeDescription="Crie um novo documento." ma:contentTypeScope="" ma:versionID="4c0297fcbfb97f968f1009e253bb7601">
  <xsd:schema xmlns:xsd="http://www.w3.org/2001/XMLSchema" xmlns:xs="http://www.w3.org/2001/XMLSchema" xmlns:p="http://schemas.microsoft.com/office/2006/metadata/properties" xmlns:ns1="http://schemas.microsoft.com/sharepoint/v3" xmlns:ns2="8c19c69e-7bc4-4fab-978b-495419bcc32a" xmlns:ns3="0bc69b18-73d2-4256-ac60-b8b95ad1ced7" targetNamespace="http://schemas.microsoft.com/office/2006/metadata/properties" ma:root="true" ma:fieldsID="0df42ee36035b9d6ca874e2a5d7d5909" ns1:_="" ns2:_="" ns3:_="">
    <xsd:import namespace="http://schemas.microsoft.com/sharepoint/v3"/>
    <xsd:import namespace="8c19c69e-7bc4-4fab-978b-495419bcc32a"/>
    <xsd:import namespace="0bc69b18-73d2-4256-ac60-b8b95ad1c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Coment_x00e1_rios" minOccurs="0"/>
                <xsd:element ref="ns2:MediaServiceBillingMetadata" minOccurs="0"/>
                <xsd:element ref="ns2:Status" minOccurs="0"/>
                <xsd:element ref="ns2:Respons_x00e1_vel" minOccurs="0"/>
                <xsd:element ref="ns2:TipodeDocument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Propriedades da Política de Conformidade Unificada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Ação de Interface do Usuário da Política de Conformidade Unificada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9c69e-7bc4-4fab-978b-495419bcc3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Marcações de imagem" ma:readOnly="false" ma:fieldId="{5cf76f15-5ced-4ddc-b409-7134ff3c332f}" ma:taxonomyMulti="true" ma:sspId="67fe9e97-3f2e-47d6-8eaf-87dccc3eba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_Flow_SignoffStatus" ma:index="23" nillable="true" ma:displayName="Status de liberação" ma:internalName="Status_x0020_de_x0020_libera_x00e7__x00e3_o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Coment_x00e1_rios" ma:index="26" nillable="true" ma:displayName="Comentários" ma:format="Dropdown" ma:internalName="Coment_x00e1_rios">
      <xsd:simpleType>
        <xsd:restriction base="dms:Note">
          <xsd:maxLength value="255"/>
        </xsd:restriction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  <xsd:element name="Status" ma:index="28" nillable="true" ma:displayName="Status" ma:format="Dropdown" ma:internalName="Status">
      <xsd:simpleType>
        <xsd:restriction base="dms:Choice">
          <xsd:enumeration value="Concluído"/>
          <xsd:enumeration value="Em andamento"/>
          <xsd:enumeration value="Não iniciado"/>
          <xsd:enumeration value="Validação"/>
        </xsd:restriction>
      </xsd:simpleType>
    </xsd:element>
    <xsd:element name="Respons_x00e1_vel" ma:index="29" nillable="true" ma:displayName="Responsável" ma:format="Dropdown" ma:list="UserInfo" ma:SharePointGroup="0" ma:internalName="Respons_x00e1_vel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ipodeDocumento" ma:index="30" nillable="true" ma:displayName="Tipo de Documento" ma:format="Dropdown" ma:internalName="TipodeDocumento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ase de Dados"/>
                    <xsd:enumeration value="Processo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c69b18-73d2-4256-ac60-b8b95ad1ced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e2a6088-4b89-4ff8-af64-b005b26881fe}" ma:internalName="TaxCatchAll" ma:showField="CatchAllData" ma:web="0bc69b18-73d2-4256-ac60-b8b95ad1ce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0D1E0E2-634A-4D15-B8DA-985C561BB3FB}">
  <ds:schemaRefs>
    <ds:schemaRef ds:uri="http://schemas.microsoft.com/office/2006/documentManagement/types"/>
    <ds:schemaRef ds:uri="http://schemas.microsoft.com/sharepoint/v3"/>
    <ds:schemaRef ds:uri="http://schemas.microsoft.com/office/2006/metadata/properties"/>
    <ds:schemaRef ds:uri="http://purl.org/dc/dcmitype/"/>
    <ds:schemaRef ds:uri="http://purl.org/dc/elements/1.1/"/>
    <ds:schemaRef ds:uri="http://purl.org/dc/terms/"/>
    <ds:schemaRef ds:uri="http://www.w3.org/XML/1998/namespace"/>
    <ds:schemaRef ds:uri="8c19c69e-7bc4-4fab-978b-495419bcc32a"/>
    <ds:schemaRef ds:uri="http://schemas.microsoft.com/office/infopath/2007/PartnerControls"/>
    <ds:schemaRef ds:uri="http://schemas.openxmlformats.org/package/2006/metadata/core-properties"/>
    <ds:schemaRef ds:uri="0bc69b18-73d2-4256-ac60-b8b95ad1ced7"/>
  </ds:schemaRefs>
</ds:datastoreItem>
</file>

<file path=customXml/itemProps2.xml><?xml version="1.0" encoding="utf-8"?>
<ds:datastoreItem xmlns:ds="http://schemas.openxmlformats.org/officeDocument/2006/customXml" ds:itemID="{AF4C9C88-B3DE-434E-A8C1-4FDDC6ADF3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4FBB66-3040-471B-95A5-3A2E2B2EFE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c19c69e-7bc4-4fab-978b-495419bcc32a"/>
    <ds:schemaRef ds:uri="0bc69b18-73d2-4256-ac60-b8b95ad1ce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27</TotalTime>
  <Words>1099</Words>
  <Application>Microsoft Office PowerPoint</Application>
  <PresentationFormat>Widescreen</PresentationFormat>
  <Paragraphs>225</Paragraphs>
  <Slides>13</Slides>
  <Notes>11</Notes>
  <HiddenSlides>1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Tahoma</vt:lpstr>
      <vt:lpstr>Tema do Office</vt:lpstr>
      <vt:lpstr>Slide do think-cell</vt:lpstr>
      <vt:lpstr>Guia para a Apresentação Executiv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/>
  <cp:lastModifiedBy>Caio Oriente Pereira</cp:lastModifiedBy>
  <cp:revision>11</cp:revision>
  <dcterms:created xsi:type="dcterms:W3CDTF">2023-09-28T19:40:31Z</dcterms:created>
  <dcterms:modified xsi:type="dcterms:W3CDTF">2025-12-03T21:5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F04C26E5D1D64E811D6EDC93ADF7AD</vt:lpwstr>
  </property>
  <property fmtid="{D5CDD505-2E9C-101B-9397-08002B2CF9AE}" pid="3" name="MSIP_Label_022f19bc-c0ef-436a-be43-be1adb274cf3_Enabled">
    <vt:lpwstr>true</vt:lpwstr>
  </property>
  <property fmtid="{D5CDD505-2E9C-101B-9397-08002B2CF9AE}" pid="4" name="MSIP_Label_022f19bc-c0ef-436a-be43-be1adb274cf3_SetDate">
    <vt:lpwstr>2023-09-28T19:40:38Z</vt:lpwstr>
  </property>
  <property fmtid="{D5CDD505-2E9C-101B-9397-08002B2CF9AE}" pid="5" name="MSIP_Label_022f19bc-c0ef-436a-be43-be1adb274cf3_Method">
    <vt:lpwstr>Standard</vt:lpwstr>
  </property>
  <property fmtid="{D5CDD505-2E9C-101B-9397-08002B2CF9AE}" pid="6" name="MSIP_Label_022f19bc-c0ef-436a-be43-be1adb274cf3_Name">
    <vt:lpwstr>Interno</vt:lpwstr>
  </property>
  <property fmtid="{D5CDD505-2E9C-101B-9397-08002B2CF9AE}" pid="7" name="MSIP_Label_022f19bc-c0ef-436a-be43-be1adb274cf3_SiteId">
    <vt:lpwstr>93546618-e20a-4fd3-a884-9e33ca7234a7</vt:lpwstr>
  </property>
  <property fmtid="{D5CDD505-2E9C-101B-9397-08002B2CF9AE}" pid="8" name="MSIP_Label_022f19bc-c0ef-436a-be43-be1adb274cf3_ActionId">
    <vt:lpwstr>c8125468-4d03-4852-8131-085c70332e42</vt:lpwstr>
  </property>
  <property fmtid="{D5CDD505-2E9C-101B-9397-08002B2CF9AE}" pid="9" name="MSIP_Label_022f19bc-c0ef-436a-be43-be1adb274cf3_ContentBits">
    <vt:lpwstr>1</vt:lpwstr>
  </property>
  <property fmtid="{D5CDD505-2E9C-101B-9397-08002B2CF9AE}" pid="10" name="ClassificationContentMarkingHeaderLocations">
    <vt:lpwstr>Tema do Office:8</vt:lpwstr>
  </property>
  <property fmtid="{D5CDD505-2E9C-101B-9397-08002B2CF9AE}" pid="11" name="ClassificationContentMarkingHeaderText">
    <vt:lpwstr>Uso Interno CPFL</vt:lpwstr>
  </property>
  <property fmtid="{D5CDD505-2E9C-101B-9397-08002B2CF9AE}" pid="12" name="MediaServiceImageTags">
    <vt:lpwstr/>
  </property>
</Properties>
</file>